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</p:sldMasterIdLst>
  <p:notesMasterIdLst>
    <p:notesMasterId r:id="rId24"/>
  </p:notesMasterIdLst>
  <p:sldIdLst>
    <p:sldId id="256" r:id="rId5"/>
    <p:sldId id="257" r:id="rId6"/>
    <p:sldId id="258" r:id="rId7"/>
    <p:sldId id="259" r:id="rId8"/>
    <p:sldId id="260" r:id="rId9"/>
    <p:sldId id="261" r:id="rId10"/>
    <p:sldId id="262" r:id="rId11"/>
    <p:sldId id="265" r:id="rId12"/>
    <p:sldId id="266" r:id="rId13"/>
    <p:sldId id="267" r:id="rId14"/>
    <p:sldId id="268" r:id="rId15"/>
    <p:sldId id="269" r:id="rId16"/>
    <p:sldId id="270" r:id="rId17"/>
    <p:sldId id="271" r:id="rId18"/>
    <p:sldId id="272" r:id="rId19"/>
    <p:sldId id="273" r:id="rId20"/>
    <p:sldId id="274" r:id="rId21"/>
    <p:sldId id="275" r:id="rId22"/>
    <p:sldId id="263" r:id="rId23"/>
  </p:sldIdLst>
  <p:sldSz cx="12192000" cy="6858000"/>
  <p:notesSz cx="6858000" cy="9144000"/>
  <p:custDataLst>
    <p:tags r:id="rId25"/>
  </p:custDataLst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1pPr>
    <a:lvl2pPr marL="0" marR="0" indent="4572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2pPr>
    <a:lvl3pPr marL="0" marR="0" indent="9144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3pPr>
    <a:lvl4pPr marL="0" marR="0" indent="13716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4pPr>
    <a:lvl5pPr marL="0" marR="0" indent="18288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5pPr>
    <a:lvl6pPr marL="0" marR="0" indent="22860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6pPr>
    <a:lvl7pPr marL="0" marR="0" indent="27432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7pPr>
    <a:lvl8pPr marL="0" marR="0" indent="32004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8pPr>
    <a:lvl9pPr marL="0" marR="0" indent="36576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32D3F30-ABDB-4B43-9A4F-FE75FCDEAE75}" v="55" dt="2020-10-09T07:32:44.191"/>
  </p1510:revLst>
</p1510:revInfo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DD4EA"/>
          </a:solidFill>
        </a:fill>
      </a:tcStyle>
    </a:wholeTbl>
    <a:band2H>
      <a:tcTxStyle/>
      <a:tcStyle>
        <a:tcBdr/>
        <a:fill>
          <a:solidFill>
            <a:srgbClr val="E8EBF5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0E0E0"/>
          </a:solidFill>
        </a:fill>
      </a:tcStyle>
    </a:wholeTbl>
    <a:band2H>
      <a:tcTxStyle/>
      <a:tcStyle>
        <a:tcBdr/>
        <a:fill>
          <a:solidFill>
            <a:srgbClr val="F0F0F0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4E2CE"/>
          </a:solidFill>
        </a:fill>
      </a:tcStyle>
    </a:wholeTbl>
    <a:band2H>
      <a:tcTxStyle/>
      <a:tcStyle>
        <a:tcBdr/>
        <a:fill>
          <a:solidFill>
            <a:srgbClr val="EBF1E8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50" d="100"/>
          <a:sy n="50" d="100"/>
        </p:scale>
        <p:origin x="1906" y="99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ckert, Peter" userId="04e50364-1ac6-468d-8340-c574f3737480" providerId="ADAL" clId="{832D3F30-ABDB-4B43-9A4F-FE75FCDEAE75}"/>
    <pc:docChg chg="undo custSel addSld delSld modSld sldOrd modMainMaster">
      <pc:chgData name="Eckert, Peter" userId="04e50364-1ac6-468d-8340-c574f3737480" providerId="ADAL" clId="{832D3F30-ABDB-4B43-9A4F-FE75FCDEAE75}" dt="2020-10-09T07:33:48.657" v="303" actId="1037"/>
      <pc:docMkLst>
        <pc:docMk/>
      </pc:docMkLst>
      <pc:sldChg chg="addSp modSp">
        <pc:chgData name="Eckert, Peter" userId="04e50364-1ac6-468d-8340-c574f3737480" providerId="ADAL" clId="{832D3F30-ABDB-4B43-9A4F-FE75FCDEAE75}" dt="2020-10-09T07:13:05.958" v="36"/>
        <pc:sldMkLst>
          <pc:docMk/>
          <pc:sldMk cId="0" sldId="256"/>
        </pc:sldMkLst>
        <pc:spChg chg="mod">
          <ac:chgData name="Eckert, Peter" userId="04e50364-1ac6-468d-8340-c574f3737480" providerId="ADAL" clId="{832D3F30-ABDB-4B43-9A4F-FE75FCDEAE75}" dt="2020-10-09T07:13:05.444" v="34" actId="20577"/>
          <ac:spMkLst>
            <pc:docMk/>
            <pc:sldMk cId="0" sldId="256"/>
            <ac:spMk id="94" creationId="{00000000-0000-0000-0000-000000000000}"/>
          </ac:spMkLst>
        </pc:spChg>
        <pc:graphicFrameChg chg="add mod ord modVis">
          <ac:chgData name="Eckert, Peter" userId="04e50364-1ac6-468d-8340-c574f3737480" providerId="ADAL" clId="{832D3F30-ABDB-4B43-9A4F-FE75FCDEAE75}" dt="2020-10-09T07:13:05.958" v="36"/>
          <ac:graphicFrameMkLst>
            <pc:docMk/>
            <pc:sldMk cId="0" sldId="256"/>
            <ac:graphicFrameMk id="2" creationId="{57BF75AA-42D6-4753-8317-1EB6F22B938B}"/>
          </ac:graphicFrameMkLst>
        </pc:graphicFrameChg>
      </pc:sldChg>
      <pc:sldChg chg="modSp">
        <pc:chgData name="Eckert, Peter" userId="04e50364-1ac6-468d-8340-c574f3737480" providerId="ADAL" clId="{832D3F30-ABDB-4B43-9A4F-FE75FCDEAE75}" dt="2020-10-09T07:19:54.543" v="50" actId="20577"/>
        <pc:sldMkLst>
          <pc:docMk/>
          <pc:sldMk cId="0" sldId="261"/>
        </pc:sldMkLst>
        <pc:spChg chg="mod">
          <ac:chgData name="Eckert, Peter" userId="04e50364-1ac6-468d-8340-c574f3737480" providerId="ADAL" clId="{832D3F30-ABDB-4B43-9A4F-FE75FCDEAE75}" dt="2020-10-09T07:19:54.543" v="50" actId="20577"/>
          <ac:spMkLst>
            <pc:docMk/>
            <pc:sldMk cId="0" sldId="261"/>
            <ac:spMk id="113" creationId="{00000000-0000-0000-0000-000000000000}"/>
          </ac:spMkLst>
        </pc:spChg>
      </pc:sldChg>
      <pc:sldChg chg="addSp delSp modSp">
        <pc:chgData name="Eckert, Peter" userId="04e50364-1ac6-468d-8340-c574f3737480" providerId="ADAL" clId="{832D3F30-ABDB-4B43-9A4F-FE75FCDEAE75}" dt="2020-10-09T07:27:51.949" v="123" actId="478"/>
        <pc:sldMkLst>
          <pc:docMk/>
          <pc:sldMk cId="0" sldId="262"/>
        </pc:sldMkLst>
        <pc:picChg chg="mod">
          <ac:chgData name="Eckert, Peter" userId="04e50364-1ac6-468d-8340-c574f3737480" providerId="ADAL" clId="{832D3F30-ABDB-4B43-9A4F-FE75FCDEAE75}" dt="2020-10-09T07:27:38.134" v="122" actId="1038"/>
          <ac:picMkLst>
            <pc:docMk/>
            <pc:sldMk cId="0" sldId="262"/>
            <ac:picMk id="117" creationId="{00000000-0000-0000-0000-000000000000}"/>
          </ac:picMkLst>
        </pc:picChg>
        <pc:cxnChg chg="add del">
          <ac:chgData name="Eckert, Peter" userId="04e50364-1ac6-468d-8340-c574f3737480" providerId="ADAL" clId="{832D3F30-ABDB-4B43-9A4F-FE75FCDEAE75}" dt="2020-10-09T07:27:51.949" v="123" actId="478"/>
          <ac:cxnSpMkLst>
            <pc:docMk/>
            <pc:sldMk cId="0" sldId="262"/>
            <ac:cxnSpMk id="7" creationId="{C85F74D3-670D-4DD7-AC60-DB1B79C97EF9}"/>
          </ac:cxnSpMkLst>
        </pc:cxnChg>
      </pc:sldChg>
      <pc:sldChg chg="ord">
        <pc:chgData name="Eckert, Peter" userId="04e50364-1ac6-468d-8340-c574f3737480" providerId="ADAL" clId="{832D3F30-ABDB-4B43-9A4F-FE75FCDEAE75}" dt="2020-10-09T07:32:44.191" v="207"/>
        <pc:sldMkLst>
          <pc:docMk/>
          <pc:sldMk cId="0" sldId="263"/>
        </pc:sldMkLst>
      </pc:sldChg>
      <pc:sldChg chg="addSp modSp del">
        <pc:chgData name="Eckert, Peter" userId="04e50364-1ac6-468d-8340-c574f3737480" providerId="ADAL" clId="{832D3F30-ABDB-4B43-9A4F-FE75FCDEAE75}" dt="2020-10-09T07:30:47.313" v="152" actId="2696"/>
        <pc:sldMkLst>
          <pc:docMk/>
          <pc:sldMk cId="0" sldId="264"/>
        </pc:sldMkLst>
        <pc:spChg chg="mod">
          <ac:chgData name="Eckert, Peter" userId="04e50364-1ac6-468d-8340-c574f3737480" providerId="ADAL" clId="{832D3F30-ABDB-4B43-9A4F-FE75FCDEAE75}" dt="2020-10-09T07:29:19.346" v="148" actId="14100"/>
          <ac:spMkLst>
            <pc:docMk/>
            <pc:sldMk cId="0" sldId="264"/>
            <ac:spMk id="125" creationId="{00000000-0000-0000-0000-000000000000}"/>
          </ac:spMkLst>
        </pc:spChg>
        <pc:spChg chg="mod">
          <ac:chgData name="Eckert, Peter" userId="04e50364-1ac6-468d-8340-c574f3737480" providerId="ADAL" clId="{832D3F30-ABDB-4B43-9A4F-FE75FCDEAE75}" dt="2020-10-09T07:29:19.346" v="148" actId="14100"/>
          <ac:spMkLst>
            <pc:docMk/>
            <pc:sldMk cId="0" sldId="264"/>
            <ac:spMk id="128" creationId="{00000000-0000-0000-0000-000000000000}"/>
          </ac:spMkLst>
        </pc:spChg>
        <pc:graphicFrameChg chg="add mod ord modVis">
          <ac:chgData name="Eckert, Peter" userId="04e50364-1ac6-468d-8340-c574f3737480" providerId="ADAL" clId="{832D3F30-ABDB-4B43-9A4F-FE75FCDEAE75}" dt="2020-10-09T07:29:19.342" v="147" actId="14100"/>
          <ac:graphicFrameMkLst>
            <pc:docMk/>
            <pc:sldMk cId="0" sldId="264"/>
            <ac:graphicFrameMk id="3" creationId="{6FC69E77-1E93-46C0-BDF0-88A24E130F2A}"/>
          </ac:graphicFrameMkLst>
        </pc:graphicFrameChg>
        <pc:picChg chg="mod">
          <ac:chgData name="Eckert, Peter" userId="04e50364-1ac6-468d-8340-c574f3737480" providerId="ADAL" clId="{832D3F30-ABDB-4B43-9A4F-FE75FCDEAE75}" dt="2020-10-09T07:29:19.346" v="148" actId="14100"/>
          <ac:picMkLst>
            <pc:docMk/>
            <pc:sldMk cId="0" sldId="264"/>
            <ac:picMk id="127" creationId="{00000000-0000-0000-0000-000000000000}"/>
          </ac:picMkLst>
        </pc:picChg>
        <pc:cxnChg chg="add mod">
          <ac:chgData name="Eckert, Peter" userId="04e50364-1ac6-468d-8340-c574f3737480" providerId="ADAL" clId="{832D3F30-ABDB-4B43-9A4F-FE75FCDEAE75}" dt="2020-10-09T07:29:19.346" v="148" actId="14100"/>
          <ac:cxnSpMkLst>
            <pc:docMk/>
            <pc:sldMk cId="0" sldId="264"/>
            <ac:cxnSpMk id="6" creationId="{6F61344B-3D3E-4B03-A560-77DA1CA55420}"/>
          </ac:cxnSpMkLst>
        </pc:cxnChg>
      </pc:sldChg>
      <pc:sldChg chg="addSp delSp modSp">
        <pc:chgData name="Eckert, Peter" userId="04e50364-1ac6-468d-8340-c574f3737480" providerId="ADAL" clId="{832D3F30-ABDB-4B43-9A4F-FE75FCDEAE75}" dt="2020-10-09T07:32:27.079" v="206" actId="14100"/>
        <pc:sldMkLst>
          <pc:docMk/>
          <pc:sldMk cId="0" sldId="265"/>
        </pc:sldMkLst>
        <pc:spChg chg="mod ord">
          <ac:chgData name="Eckert, Peter" userId="04e50364-1ac6-468d-8340-c574f3737480" providerId="ADAL" clId="{832D3F30-ABDB-4B43-9A4F-FE75FCDEAE75}" dt="2020-10-09T07:31:42.711" v="157"/>
          <ac:spMkLst>
            <pc:docMk/>
            <pc:sldMk cId="0" sldId="265"/>
            <ac:spMk id="130" creationId="{00000000-0000-0000-0000-000000000000}"/>
          </ac:spMkLst>
        </pc:spChg>
        <pc:spChg chg="mod ord">
          <ac:chgData name="Eckert, Peter" userId="04e50364-1ac6-468d-8340-c574f3737480" providerId="ADAL" clId="{832D3F30-ABDB-4B43-9A4F-FE75FCDEAE75}" dt="2020-10-09T07:31:42.712" v="159"/>
          <ac:spMkLst>
            <pc:docMk/>
            <pc:sldMk cId="0" sldId="265"/>
            <ac:spMk id="131" creationId="{00000000-0000-0000-0000-000000000000}"/>
          </ac:spMkLst>
        </pc:spChg>
        <pc:graphicFrameChg chg="add mod ord modVis">
          <ac:chgData name="Eckert, Peter" userId="04e50364-1ac6-468d-8340-c574f3737480" providerId="ADAL" clId="{832D3F30-ABDB-4B43-9A4F-FE75FCDEAE75}" dt="2020-10-09T07:31:42.740" v="176"/>
          <ac:graphicFrameMkLst>
            <pc:docMk/>
            <pc:sldMk cId="0" sldId="265"/>
            <ac:graphicFrameMk id="4" creationId="{7A1D2B31-C9F3-4A8B-853F-10A60A05D20D}"/>
          </ac:graphicFrameMkLst>
        </pc:graphicFrameChg>
        <pc:picChg chg="add mod ord">
          <ac:chgData name="Eckert, Peter" userId="04e50364-1ac6-468d-8340-c574f3737480" providerId="ADAL" clId="{832D3F30-ABDB-4B43-9A4F-FE75FCDEAE75}" dt="2020-10-09T07:32:27.079" v="206" actId="14100"/>
          <ac:picMkLst>
            <pc:docMk/>
            <pc:sldMk cId="0" sldId="265"/>
            <ac:picMk id="7" creationId="{F6EC72AC-55A5-4151-8359-96791C382B0E}"/>
          </ac:picMkLst>
        </pc:picChg>
        <pc:picChg chg="mod ord">
          <ac:chgData name="Eckert, Peter" userId="04e50364-1ac6-468d-8340-c574f3737480" providerId="ADAL" clId="{832D3F30-ABDB-4B43-9A4F-FE75FCDEAE75}" dt="2020-10-09T07:31:42.712" v="161"/>
          <ac:picMkLst>
            <pc:docMk/>
            <pc:sldMk cId="0" sldId="265"/>
            <ac:picMk id="132" creationId="{00000000-0000-0000-0000-000000000000}"/>
          </ac:picMkLst>
        </pc:picChg>
        <pc:cxnChg chg="add del mod">
          <ac:chgData name="Eckert, Peter" userId="04e50364-1ac6-468d-8340-c574f3737480" providerId="ADAL" clId="{832D3F30-ABDB-4B43-9A4F-FE75FCDEAE75}" dt="2020-10-09T07:26:43.390" v="59"/>
          <ac:cxnSpMkLst>
            <pc:docMk/>
            <pc:sldMk cId="0" sldId="265"/>
            <ac:cxnSpMk id="3" creationId="{E1A3832A-CB0D-4B09-BC5B-36C4C0D183EE}"/>
          </ac:cxnSpMkLst>
        </pc:cxnChg>
      </pc:sldChg>
      <pc:sldChg chg="addSp delSp">
        <pc:chgData name="Eckert, Peter" userId="04e50364-1ac6-468d-8340-c574f3737480" providerId="ADAL" clId="{832D3F30-ABDB-4B43-9A4F-FE75FCDEAE75}" dt="2020-10-09T07:26:53.746" v="61"/>
        <pc:sldMkLst>
          <pc:docMk/>
          <pc:sldMk cId="0" sldId="266"/>
        </pc:sldMkLst>
        <pc:cxnChg chg="add del">
          <ac:chgData name="Eckert, Peter" userId="04e50364-1ac6-468d-8340-c574f3737480" providerId="ADAL" clId="{832D3F30-ABDB-4B43-9A4F-FE75FCDEAE75}" dt="2020-10-09T07:26:53.746" v="61"/>
          <ac:cxnSpMkLst>
            <pc:docMk/>
            <pc:sldMk cId="0" sldId="266"/>
            <ac:cxnSpMk id="7" creationId="{5A9F46F5-8700-4927-A228-09CBE96914EE}"/>
          </ac:cxnSpMkLst>
        </pc:cxnChg>
      </pc:sldChg>
      <pc:sldChg chg="modSp">
        <pc:chgData name="Eckert, Peter" userId="04e50364-1ac6-468d-8340-c574f3737480" providerId="ADAL" clId="{832D3F30-ABDB-4B43-9A4F-FE75FCDEAE75}" dt="2020-10-09T07:33:48.657" v="303" actId="1037"/>
        <pc:sldMkLst>
          <pc:docMk/>
          <pc:sldMk cId="0" sldId="267"/>
        </pc:sldMkLst>
        <pc:picChg chg="mod">
          <ac:chgData name="Eckert, Peter" userId="04e50364-1ac6-468d-8340-c574f3737480" providerId="ADAL" clId="{832D3F30-ABDB-4B43-9A4F-FE75FCDEAE75}" dt="2020-10-09T07:33:48.657" v="303" actId="1037"/>
          <ac:picMkLst>
            <pc:docMk/>
            <pc:sldMk cId="0" sldId="267"/>
            <ac:picMk id="143" creationId="{00000000-0000-0000-0000-000000000000}"/>
          </ac:picMkLst>
        </pc:picChg>
      </pc:sldChg>
      <pc:sldChg chg="addSp delSp add del">
        <pc:chgData name="Eckert, Peter" userId="04e50364-1ac6-468d-8340-c574f3737480" providerId="ADAL" clId="{832D3F30-ABDB-4B43-9A4F-FE75FCDEAE75}" dt="2020-10-09T07:32:03.551" v="177" actId="2696"/>
        <pc:sldMkLst>
          <pc:docMk/>
          <pc:sldMk cId="3264541" sldId="276"/>
        </pc:sldMkLst>
        <pc:spChg chg="add del">
          <ac:chgData name="Eckert, Peter" userId="04e50364-1ac6-468d-8340-c574f3737480" providerId="ADAL" clId="{832D3F30-ABDB-4B43-9A4F-FE75FCDEAE75}" dt="2020-10-09T07:30:31.383" v="151" actId="478"/>
          <ac:spMkLst>
            <pc:docMk/>
            <pc:sldMk cId="3264541" sldId="276"/>
            <ac:spMk id="4" creationId="{C2F4ACDC-7D21-483F-9591-CD53091DF52B}"/>
          </ac:spMkLst>
        </pc:spChg>
        <pc:spChg chg="add del">
          <ac:chgData name="Eckert, Peter" userId="04e50364-1ac6-468d-8340-c574f3737480" providerId="ADAL" clId="{832D3F30-ABDB-4B43-9A4F-FE75FCDEAE75}" dt="2020-10-09T07:30:31.383" v="151" actId="478"/>
          <ac:spMkLst>
            <pc:docMk/>
            <pc:sldMk cId="3264541" sldId="276"/>
            <ac:spMk id="5" creationId="{727E11A8-E9B0-4AC1-8188-8C58B5C7365D}"/>
          </ac:spMkLst>
        </pc:spChg>
        <pc:spChg chg="add del">
          <ac:chgData name="Eckert, Peter" userId="04e50364-1ac6-468d-8340-c574f3737480" providerId="ADAL" clId="{832D3F30-ABDB-4B43-9A4F-FE75FCDEAE75}" dt="2020-10-09T07:30:31.383" v="151" actId="478"/>
          <ac:spMkLst>
            <pc:docMk/>
            <pc:sldMk cId="3264541" sldId="276"/>
            <ac:spMk id="7" creationId="{0FCE9AF5-4CF5-47DA-911F-78396653DE3A}"/>
          </ac:spMkLst>
        </pc:spChg>
        <pc:picChg chg="add del">
          <ac:chgData name="Eckert, Peter" userId="04e50364-1ac6-468d-8340-c574f3737480" providerId="ADAL" clId="{832D3F30-ABDB-4B43-9A4F-FE75FCDEAE75}" dt="2020-10-09T07:30:31.383" v="151" actId="478"/>
          <ac:picMkLst>
            <pc:docMk/>
            <pc:sldMk cId="3264541" sldId="276"/>
            <ac:picMk id="6" creationId="{3B658A35-0356-4197-9A75-D296D09BBC13}"/>
          </ac:picMkLst>
        </pc:picChg>
        <pc:cxnChg chg="add del">
          <ac:chgData name="Eckert, Peter" userId="04e50364-1ac6-468d-8340-c574f3737480" providerId="ADAL" clId="{832D3F30-ABDB-4B43-9A4F-FE75FCDEAE75}" dt="2020-10-09T07:30:31.383" v="151" actId="478"/>
          <ac:cxnSpMkLst>
            <pc:docMk/>
            <pc:sldMk cId="3264541" sldId="276"/>
            <ac:cxnSpMk id="8" creationId="{D2A67827-F597-4743-BDC7-D6C5DEDC0048}"/>
          </ac:cxnSpMkLst>
        </pc:cxnChg>
      </pc:sldChg>
      <pc:sldMasterChg chg="addSp modSp">
        <pc:chgData name="Eckert, Peter" userId="04e50364-1ac6-468d-8340-c574f3737480" providerId="ADAL" clId="{832D3F30-ABDB-4B43-9A4F-FE75FCDEAE75}" dt="2020-10-09T07:13:03.904" v="15"/>
        <pc:sldMasterMkLst>
          <pc:docMk/>
          <pc:sldMasterMk cId="0" sldId="2147483648"/>
        </pc:sldMasterMkLst>
        <pc:graphicFrameChg chg="add mod ord modVis">
          <ac:chgData name="Eckert, Peter" userId="04e50364-1ac6-468d-8340-c574f3737480" providerId="ADAL" clId="{832D3F30-ABDB-4B43-9A4F-FE75FCDEAE75}" dt="2020-10-09T07:13:03.904" v="15"/>
          <ac:graphicFrameMkLst>
            <pc:docMk/>
            <pc:sldMasterMk cId="0" sldId="2147483648"/>
            <ac:graphicFrameMk id="5" creationId="{650EF0E1-701A-4223-A3DE-3B7DF93EC1D5}"/>
          </ac:graphicFrameMkLst>
        </pc:graphicFrame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Shape 9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92" name="Shape 92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latinLnBrk="0">
      <a:defRPr sz="1200">
        <a:latin typeface="+mn-lt"/>
        <a:ea typeface="+mn-ea"/>
        <a:cs typeface="+mn-cs"/>
        <a:sym typeface="Calibri"/>
      </a:defRPr>
    </a:lvl1pPr>
    <a:lvl2pPr indent="228600" latinLnBrk="0">
      <a:defRPr sz="1200">
        <a:latin typeface="+mn-lt"/>
        <a:ea typeface="+mn-ea"/>
        <a:cs typeface="+mn-cs"/>
        <a:sym typeface="Calibri"/>
      </a:defRPr>
    </a:lvl2pPr>
    <a:lvl3pPr indent="457200" latinLnBrk="0">
      <a:defRPr sz="1200">
        <a:latin typeface="+mn-lt"/>
        <a:ea typeface="+mn-ea"/>
        <a:cs typeface="+mn-cs"/>
        <a:sym typeface="Calibri"/>
      </a:defRPr>
    </a:lvl3pPr>
    <a:lvl4pPr indent="685800" latinLnBrk="0">
      <a:defRPr sz="1200">
        <a:latin typeface="+mn-lt"/>
        <a:ea typeface="+mn-ea"/>
        <a:cs typeface="+mn-cs"/>
        <a:sym typeface="Calibri"/>
      </a:defRPr>
    </a:lvl4pPr>
    <a:lvl5pPr indent="914400" latinLnBrk="0">
      <a:defRPr sz="1200">
        <a:latin typeface="+mn-lt"/>
        <a:ea typeface="+mn-ea"/>
        <a:cs typeface="+mn-cs"/>
        <a:sym typeface="Calibri"/>
      </a:defRPr>
    </a:lvl5pPr>
    <a:lvl6pPr indent="1143000" latinLnBrk="0">
      <a:defRPr sz="1200">
        <a:latin typeface="+mn-lt"/>
        <a:ea typeface="+mn-ea"/>
        <a:cs typeface="+mn-cs"/>
        <a:sym typeface="Calibri"/>
      </a:defRPr>
    </a:lvl6pPr>
    <a:lvl7pPr indent="1371600" latinLnBrk="0">
      <a:defRPr sz="1200">
        <a:latin typeface="+mn-lt"/>
        <a:ea typeface="+mn-ea"/>
        <a:cs typeface="+mn-cs"/>
        <a:sym typeface="Calibri"/>
      </a:defRPr>
    </a:lvl7pPr>
    <a:lvl8pPr indent="1600200" latinLnBrk="0">
      <a:defRPr sz="1200">
        <a:latin typeface="+mn-lt"/>
        <a:ea typeface="+mn-ea"/>
        <a:cs typeface="+mn-cs"/>
        <a:sym typeface="Calibri"/>
      </a:defRPr>
    </a:lvl8pPr>
    <a:lvl9pPr indent="1828800" latinLnBrk="0">
      <a:defRPr sz="1200">
        <a:latin typeface="+mn-lt"/>
        <a:ea typeface="+mn-ea"/>
        <a:cs typeface="+mn-cs"/>
        <a:sym typeface="Calibri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text"/>
          <p:cNvSpPr txBox="1">
            <a:spLocks noGrp="1"/>
          </p:cNvSpPr>
          <p:nvPr>
            <p:ph type="title"/>
          </p:nvPr>
        </p:nvSpPr>
        <p:spPr>
          <a:xfrm>
            <a:off x="1524000" y="1122362"/>
            <a:ext cx="9144000" cy="2387601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t>Titeltext</a:t>
            </a:r>
          </a:p>
        </p:txBody>
      </p:sp>
      <p:sp>
        <p:nvSpPr>
          <p:cNvPr id="12" name="Textebene 1…"/>
          <p:cNvSpPr txBox="1">
            <a:spLocks noGrp="1"/>
          </p:cNvSpPr>
          <p:nvPr>
            <p:ph type="body" sz="quarter" idx="1"/>
          </p:nvPr>
        </p:nvSpPr>
        <p:spPr>
          <a:xfrm>
            <a:off x="1524000" y="3602037"/>
            <a:ext cx="9144000" cy="1655763"/>
          </a:xfrm>
          <a:prstGeom prst="rect">
            <a:avLst/>
          </a:prstGeom>
        </p:spPr>
        <p:txBody>
          <a:bodyPr/>
          <a:lstStyle>
            <a:lvl1pPr marL="0" indent="0" algn="ctr">
              <a:buSzTx/>
              <a:buFontTx/>
              <a:buNone/>
              <a:defRPr sz="2400"/>
            </a:lvl1pPr>
            <a:lvl2pPr marL="0" indent="457200" algn="ctr">
              <a:buSzTx/>
              <a:buFontTx/>
              <a:buNone/>
              <a:defRPr sz="2400"/>
            </a:lvl2pPr>
            <a:lvl3pPr marL="0" indent="914400" algn="ctr">
              <a:buSzTx/>
              <a:buFontTx/>
              <a:buNone/>
              <a:defRPr sz="2400"/>
            </a:lvl3pPr>
            <a:lvl4pPr marL="0" indent="1371600" algn="ctr">
              <a:buSzTx/>
              <a:buFontTx/>
              <a:buNone/>
              <a:defRPr sz="2400"/>
            </a:lvl4pPr>
            <a:lvl5pPr marL="0" indent="1828800" algn="ctr">
              <a:buSzTx/>
              <a:buFontTx/>
              <a:buNone/>
              <a:defRPr sz="2400"/>
            </a:lvl5pPr>
          </a:lstStyle>
          <a:p>
            <a:r>
              <a:t>Textebene 1</a:t>
            </a:r>
          </a:p>
          <a:p>
            <a:pPr lvl="1"/>
            <a:r>
              <a:t>Textebene 2</a:t>
            </a:r>
          </a:p>
          <a:p>
            <a:pPr lvl="2"/>
            <a:r>
              <a:t>Textebene 3</a:t>
            </a:r>
          </a:p>
          <a:p>
            <a:pPr lvl="3"/>
            <a:r>
              <a:t>Textebene 4</a:t>
            </a:r>
          </a:p>
          <a:p>
            <a:pPr lvl="4"/>
            <a:r>
              <a:t>Textebene 5</a:t>
            </a:r>
          </a:p>
        </p:txBody>
      </p:sp>
      <p:sp>
        <p:nvSpPr>
          <p:cNvPr id="13" name="Folien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eltext</a:t>
            </a:r>
          </a:p>
        </p:txBody>
      </p:sp>
      <p:sp>
        <p:nvSpPr>
          <p:cNvPr id="21" name="Textebene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bene 1</a:t>
            </a:r>
          </a:p>
          <a:p>
            <a:pPr lvl="1"/>
            <a:r>
              <a:t>Textebene 2</a:t>
            </a:r>
          </a:p>
          <a:p>
            <a:pPr lvl="2"/>
            <a:r>
              <a:t>Textebene 3</a:t>
            </a:r>
          </a:p>
          <a:p>
            <a:pPr lvl="3"/>
            <a:r>
              <a:t>Textebene 4</a:t>
            </a:r>
          </a:p>
          <a:p>
            <a:pPr lvl="4"/>
            <a:r>
              <a:t>Textebene 5</a:t>
            </a:r>
          </a:p>
        </p:txBody>
      </p:sp>
      <p:sp>
        <p:nvSpPr>
          <p:cNvPr id="22" name="Folien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eltext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t>Titeltext</a:t>
            </a:r>
          </a:p>
        </p:txBody>
      </p:sp>
      <p:sp>
        <p:nvSpPr>
          <p:cNvPr id="30" name="Textebene 1…"/>
          <p:cNvSpPr txBox="1">
            <a:spLocks noGrp="1"/>
          </p:cNvSpPr>
          <p:nvPr>
            <p:ph type="body" sz="quarter" idx="1"/>
          </p:nvPr>
        </p:nvSpPr>
        <p:spPr>
          <a:xfrm>
            <a:off x="831850" y="4589462"/>
            <a:ext cx="10515600" cy="1500188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2400">
                <a:solidFill>
                  <a:srgbClr val="888888"/>
                </a:solidFill>
              </a:defRPr>
            </a:lvl1pPr>
            <a:lvl2pPr marL="0" indent="457200">
              <a:buSzTx/>
              <a:buFontTx/>
              <a:buNone/>
              <a:defRPr sz="2400">
                <a:solidFill>
                  <a:srgbClr val="888888"/>
                </a:solidFill>
              </a:defRPr>
            </a:lvl2pPr>
            <a:lvl3pPr marL="0" indent="914400">
              <a:buSzTx/>
              <a:buFontTx/>
              <a:buNone/>
              <a:defRPr sz="2400">
                <a:solidFill>
                  <a:srgbClr val="888888"/>
                </a:solidFill>
              </a:defRPr>
            </a:lvl3pPr>
            <a:lvl4pPr marL="0" indent="1371600">
              <a:buSzTx/>
              <a:buFontTx/>
              <a:buNone/>
              <a:defRPr sz="2400">
                <a:solidFill>
                  <a:srgbClr val="888888"/>
                </a:solidFill>
              </a:defRPr>
            </a:lvl4pPr>
            <a:lvl5pPr marL="0" indent="1828800">
              <a:buSzTx/>
              <a:buFontTx/>
              <a:buNone/>
              <a:defRPr sz="2400">
                <a:solidFill>
                  <a:srgbClr val="888888"/>
                </a:solidFill>
              </a:defRPr>
            </a:lvl5pPr>
          </a:lstStyle>
          <a:p>
            <a:r>
              <a:t>Textebene 1</a:t>
            </a:r>
          </a:p>
          <a:p>
            <a:pPr lvl="1"/>
            <a:r>
              <a:t>Textebene 2</a:t>
            </a:r>
          </a:p>
          <a:p>
            <a:pPr lvl="2"/>
            <a:r>
              <a:t>Textebene 3</a:t>
            </a:r>
          </a:p>
          <a:p>
            <a:pPr lvl="3"/>
            <a:r>
              <a:t>Textebene 4</a:t>
            </a:r>
          </a:p>
          <a:p>
            <a:pPr lvl="4"/>
            <a:r>
              <a:t>Textebene 5</a:t>
            </a:r>
          </a:p>
        </p:txBody>
      </p:sp>
      <p:sp>
        <p:nvSpPr>
          <p:cNvPr id="31" name="Folien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el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eltext</a:t>
            </a:r>
          </a:p>
        </p:txBody>
      </p:sp>
      <p:sp>
        <p:nvSpPr>
          <p:cNvPr id="39" name="Textebene 1…"/>
          <p:cNvSpPr txBox="1">
            <a:spLocks noGrp="1"/>
          </p:cNvSpPr>
          <p:nvPr>
            <p:ph type="body"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r>
              <a:t>Textebene 1</a:t>
            </a:r>
          </a:p>
          <a:p>
            <a:pPr lvl="1"/>
            <a:r>
              <a:t>Textebene 2</a:t>
            </a:r>
          </a:p>
          <a:p>
            <a:pPr lvl="2"/>
            <a:r>
              <a:t>Textebene 3</a:t>
            </a:r>
          </a:p>
          <a:p>
            <a:pPr lvl="3"/>
            <a:r>
              <a:t>Textebene 4</a:t>
            </a:r>
          </a:p>
          <a:p>
            <a:pPr lvl="4"/>
            <a:r>
              <a:t>Textebene 5</a:t>
            </a:r>
          </a:p>
        </p:txBody>
      </p:sp>
      <p:sp>
        <p:nvSpPr>
          <p:cNvPr id="40" name="Folien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eltext"/>
          <p:cNvSpPr txBox="1">
            <a:spLocks noGrp="1"/>
          </p:cNvSpPr>
          <p:nvPr>
            <p:ph type="title"/>
          </p:nvPr>
        </p:nvSpPr>
        <p:spPr>
          <a:xfrm>
            <a:off x="839787" y="365125"/>
            <a:ext cx="10515601" cy="1325563"/>
          </a:xfrm>
          <a:prstGeom prst="rect">
            <a:avLst/>
          </a:prstGeom>
        </p:spPr>
        <p:txBody>
          <a:bodyPr/>
          <a:lstStyle/>
          <a:p>
            <a:r>
              <a:t>Titeltext</a:t>
            </a:r>
          </a:p>
        </p:txBody>
      </p:sp>
      <p:sp>
        <p:nvSpPr>
          <p:cNvPr id="48" name="Textebene 1…"/>
          <p:cNvSpPr txBox="1">
            <a:spLocks noGrp="1"/>
          </p:cNvSpPr>
          <p:nvPr>
            <p:ph type="body" sz="quarter" idx="1"/>
          </p:nvPr>
        </p:nvSpPr>
        <p:spPr>
          <a:xfrm>
            <a:off x="839787" y="1681163"/>
            <a:ext cx="5157789" cy="823913"/>
          </a:xfrm>
          <a:prstGeom prst="rect">
            <a:avLst/>
          </a:prstGeom>
        </p:spPr>
        <p:txBody>
          <a:bodyPr anchor="b"/>
          <a:lstStyle>
            <a:lvl1pPr marL="0" indent="0">
              <a:buSzTx/>
              <a:buFontTx/>
              <a:buNone/>
              <a:defRPr sz="2400" b="1"/>
            </a:lvl1pPr>
            <a:lvl2pPr marL="0" indent="457200">
              <a:buSzTx/>
              <a:buFontTx/>
              <a:buNone/>
              <a:defRPr sz="2400" b="1"/>
            </a:lvl2pPr>
            <a:lvl3pPr marL="0" indent="914400">
              <a:buSzTx/>
              <a:buFontTx/>
              <a:buNone/>
              <a:defRPr sz="2400" b="1"/>
            </a:lvl3pPr>
            <a:lvl4pPr marL="0" indent="1371600">
              <a:buSzTx/>
              <a:buFontTx/>
              <a:buNone/>
              <a:defRPr sz="2400" b="1"/>
            </a:lvl4pPr>
            <a:lvl5pPr marL="0" indent="1828800">
              <a:buSzTx/>
              <a:buFontTx/>
              <a:buNone/>
              <a:defRPr sz="2400" b="1"/>
            </a:lvl5pPr>
          </a:lstStyle>
          <a:p>
            <a:r>
              <a:t>Textebene 1</a:t>
            </a:r>
          </a:p>
          <a:p>
            <a:pPr lvl="1"/>
            <a:r>
              <a:t>Textebene 2</a:t>
            </a:r>
          </a:p>
          <a:p>
            <a:pPr lvl="2"/>
            <a:r>
              <a:t>Textebene 3</a:t>
            </a:r>
          </a:p>
          <a:p>
            <a:pPr lvl="3"/>
            <a:r>
              <a:t>Textebene 4</a:t>
            </a:r>
          </a:p>
          <a:p>
            <a:pPr lvl="4"/>
            <a:r>
              <a:t>Textebene 5</a:t>
            </a:r>
          </a:p>
        </p:txBody>
      </p:sp>
      <p:sp>
        <p:nvSpPr>
          <p:cNvPr id="49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172200" y="1681163"/>
            <a:ext cx="5183188" cy="823913"/>
          </a:xfrm>
          <a:prstGeom prst="rect">
            <a:avLst/>
          </a:prstGeom>
        </p:spPr>
        <p:txBody>
          <a:bodyPr anchor="b"/>
          <a:lstStyle/>
          <a:p>
            <a:pPr marL="0" indent="0">
              <a:buSzTx/>
              <a:buFontTx/>
              <a:buNone/>
              <a:defRPr sz="2400" b="1"/>
            </a:pPr>
            <a:endParaRPr/>
          </a:p>
        </p:txBody>
      </p:sp>
      <p:sp>
        <p:nvSpPr>
          <p:cNvPr id="50" name="Folien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el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eltext</a:t>
            </a:r>
          </a:p>
        </p:txBody>
      </p:sp>
      <p:sp>
        <p:nvSpPr>
          <p:cNvPr id="58" name="Folien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Folien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Titeltext"/>
          <p:cNvSpPr txBox="1">
            <a:spLocks noGrp="1"/>
          </p:cNvSpPr>
          <p:nvPr>
            <p:ph type="title"/>
          </p:nvPr>
        </p:nvSpPr>
        <p:spPr>
          <a:xfrm>
            <a:off x="839787" y="457200"/>
            <a:ext cx="3932239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t>Titeltext</a:t>
            </a:r>
          </a:p>
        </p:txBody>
      </p:sp>
      <p:sp>
        <p:nvSpPr>
          <p:cNvPr id="73" name="Textebene 1…"/>
          <p:cNvSpPr txBox="1">
            <a:spLocks noGrp="1"/>
          </p:cNvSpPr>
          <p:nvPr>
            <p:ph type="body" sz="half" idx="1"/>
          </p:nvPr>
        </p:nvSpPr>
        <p:spPr>
          <a:xfrm>
            <a:off x="5183187" y="987425"/>
            <a:ext cx="6172201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 marL="718457" indent="-261257">
              <a:defRPr sz="3200"/>
            </a:lvl2pPr>
            <a:lvl3pPr marL="1219200" indent="-304800">
              <a:defRPr sz="3200"/>
            </a:lvl3pPr>
            <a:lvl4pPr marL="1737360" indent="-365760">
              <a:defRPr sz="3200"/>
            </a:lvl4pPr>
            <a:lvl5pPr marL="2194560" indent="-365760">
              <a:defRPr sz="3200"/>
            </a:lvl5pPr>
          </a:lstStyle>
          <a:p>
            <a:r>
              <a:t>Textebene 1</a:t>
            </a:r>
          </a:p>
          <a:p>
            <a:pPr lvl="1"/>
            <a:r>
              <a:t>Textebene 2</a:t>
            </a:r>
          </a:p>
          <a:p>
            <a:pPr lvl="2"/>
            <a:r>
              <a:t>Textebene 3</a:t>
            </a:r>
          </a:p>
          <a:p>
            <a:pPr lvl="3"/>
            <a:r>
              <a:t>Textebene 4</a:t>
            </a:r>
          </a:p>
          <a:p>
            <a:pPr lvl="4"/>
            <a:r>
              <a:t>Textebene 5</a:t>
            </a:r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839787" y="2057400"/>
            <a:ext cx="3932239" cy="3811588"/>
          </a:xfrm>
          <a:prstGeom prst="rect">
            <a:avLst/>
          </a:prstGeom>
        </p:spPr>
        <p:txBody>
          <a:bodyPr/>
          <a:lstStyle/>
          <a:p>
            <a:pPr marL="0" indent="0">
              <a:buSzTx/>
              <a:buFontTx/>
              <a:buNone/>
              <a:defRPr sz="1600"/>
            </a:pPr>
            <a:endParaRPr/>
          </a:p>
        </p:txBody>
      </p:sp>
      <p:sp>
        <p:nvSpPr>
          <p:cNvPr id="75" name="Folien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iteltext"/>
          <p:cNvSpPr txBox="1">
            <a:spLocks noGrp="1"/>
          </p:cNvSpPr>
          <p:nvPr>
            <p:ph type="title"/>
          </p:nvPr>
        </p:nvSpPr>
        <p:spPr>
          <a:xfrm>
            <a:off x="839787" y="457200"/>
            <a:ext cx="3932239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t>Titeltext</a:t>
            </a:r>
          </a:p>
        </p:txBody>
      </p:sp>
      <p:sp>
        <p:nvSpPr>
          <p:cNvPr id="83" name="Bildplatzhalter 2"/>
          <p:cNvSpPr>
            <a:spLocks noGrp="1"/>
          </p:cNvSpPr>
          <p:nvPr>
            <p:ph type="pic" sz="half" idx="13"/>
          </p:nvPr>
        </p:nvSpPr>
        <p:spPr>
          <a:xfrm>
            <a:off x="5183187" y="987425"/>
            <a:ext cx="6172201" cy="4873625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84" name="Textebene 1…"/>
          <p:cNvSpPr txBox="1">
            <a:spLocks noGrp="1"/>
          </p:cNvSpPr>
          <p:nvPr>
            <p:ph type="body" sz="quarter" idx="1"/>
          </p:nvPr>
        </p:nvSpPr>
        <p:spPr>
          <a:xfrm>
            <a:off x="839787" y="2057400"/>
            <a:ext cx="3932239" cy="3811588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1600"/>
            </a:lvl1pPr>
            <a:lvl2pPr marL="0" indent="457200">
              <a:buSzTx/>
              <a:buFontTx/>
              <a:buNone/>
              <a:defRPr sz="1600"/>
            </a:lvl2pPr>
            <a:lvl3pPr marL="0" indent="914400">
              <a:buSzTx/>
              <a:buFontTx/>
              <a:buNone/>
              <a:defRPr sz="1600"/>
            </a:lvl3pPr>
            <a:lvl4pPr marL="0" indent="1371600">
              <a:buSzTx/>
              <a:buFontTx/>
              <a:buNone/>
              <a:defRPr sz="1600"/>
            </a:lvl4pPr>
            <a:lvl5pPr marL="0" indent="1828800">
              <a:buSzTx/>
              <a:buFontTx/>
              <a:buNone/>
              <a:defRPr sz="1600"/>
            </a:lvl5pPr>
          </a:lstStyle>
          <a:p>
            <a:r>
              <a:t>Textebene 1</a:t>
            </a:r>
          </a:p>
          <a:p>
            <a:pPr lvl="1"/>
            <a:r>
              <a:t>Textebene 2</a:t>
            </a:r>
          </a:p>
          <a:p>
            <a:pPr lvl="2"/>
            <a:r>
              <a:t>Textebene 3</a:t>
            </a:r>
          </a:p>
          <a:p>
            <a:pPr lvl="3"/>
            <a:r>
              <a:t>Textebene 4</a:t>
            </a:r>
          </a:p>
          <a:p>
            <a:pPr lvl="4"/>
            <a:r>
              <a:t>Textebene 5</a:t>
            </a:r>
          </a:p>
        </p:txBody>
      </p:sp>
      <p:sp>
        <p:nvSpPr>
          <p:cNvPr id="85" name="Folien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50EF0E1-701A-4223-A3DE-3B7DF93EC1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720451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13" imgW="499" imgH="499" progId="TCLayout.ActiveDocument.1">
                  <p:embed/>
                </p:oleObj>
              </mc:Choice>
              <mc:Fallback>
                <p:oleObj name="think-cell Folie" r:id="rId13" imgW="499" imgH="499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50EF0E1-701A-4223-A3DE-3B7DF93EC1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text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 anchor="ctr">
            <a:normAutofit/>
          </a:bodyPr>
          <a:lstStyle/>
          <a:p>
            <a:r>
              <a:t>Titeltext</a:t>
            </a:r>
          </a:p>
        </p:txBody>
      </p:sp>
      <p:sp>
        <p:nvSpPr>
          <p:cNvPr id="3" name="Textebene 1…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normAutofit/>
          </a:bodyPr>
          <a:lstStyle/>
          <a:p>
            <a:r>
              <a:t>Textebene 1</a:t>
            </a:r>
          </a:p>
          <a:p>
            <a:pPr lvl="1"/>
            <a:r>
              <a:t>Textebene 2</a:t>
            </a:r>
          </a:p>
          <a:p>
            <a:pPr lvl="2"/>
            <a:r>
              <a:t>Textebene 3</a:t>
            </a:r>
          </a:p>
          <a:p>
            <a:pPr lvl="3"/>
            <a:r>
              <a:t>Textebene 4</a:t>
            </a:r>
          </a:p>
          <a:p>
            <a:pPr lvl="4"/>
            <a:r>
              <a:t>Textebene 5</a:t>
            </a:r>
          </a:p>
        </p:txBody>
      </p:sp>
      <p:sp>
        <p:nvSpPr>
          <p:cNvPr id="4" name="Foliennummer"/>
          <p:cNvSpPr txBox="1">
            <a:spLocks noGrp="1"/>
          </p:cNvSpPr>
          <p:nvPr>
            <p:ph type="sldNum" sz="quarter" idx="2"/>
          </p:nvPr>
        </p:nvSpPr>
        <p:spPr>
          <a:xfrm>
            <a:off x="11095176" y="6404292"/>
            <a:ext cx="258624" cy="269241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Nr.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transition spd="med"/>
  <p:txStyles>
    <p:titleStyle>
      <a:lvl1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9pPr>
    </p:titleStyle>
    <p:bodyStyle>
      <a:lvl1pPr marL="228600" marR="0" indent="-228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1pPr>
      <a:lvl2pPr marL="723900" marR="0" indent="-2667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2pPr>
      <a:lvl3pPr marL="1234439" marR="0" indent="-320039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3pPr>
      <a:lvl4pPr marL="17272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4pPr>
      <a:lvl5pPr marL="21844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5pPr>
      <a:lvl6pPr marL="26416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6pPr>
      <a:lvl7pPr marL="30988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7pPr>
      <a:lvl8pPr marL="35560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8pPr>
      <a:lvl9pPr marL="40132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457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914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371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8288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22860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2743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3200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3657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x.thunkable.com/copy/57989626327f283cca1815d081083498" TargetMode="Externa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7BF75AA-42D6-4753-8317-1EB6F22B93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4721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4" imgW="499" imgH="499" progId="TCLayout.ActiveDocument.1">
                  <p:embed/>
                </p:oleObj>
              </mc:Choice>
              <mc:Fallback>
                <p:oleObj name="think-cell Folie" r:id="rId4" imgW="499" imgH="499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7BF75AA-42D6-4753-8317-1EB6F22B93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" name="Titel 1"/>
          <p:cNvSpPr txBox="1">
            <a:spLocks noGrp="1"/>
          </p:cNvSpPr>
          <p:nvPr>
            <p:ph type="ctrTitle"/>
          </p:nvPr>
        </p:nvSpPr>
        <p:spPr>
          <a:xfrm>
            <a:off x="1324698" y="1122362"/>
            <a:ext cx="9343302" cy="2387601"/>
          </a:xfrm>
          <a:prstGeom prst="rect">
            <a:avLst/>
          </a:prstGeom>
        </p:spPr>
        <p:txBody>
          <a:bodyPr/>
          <a:lstStyle>
            <a:lvl1pPr defTabSz="758951">
              <a:defRPr sz="7968" b="1">
                <a:solidFill>
                  <a:srgbClr val="FF0000"/>
                </a:solidFill>
                <a:latin typeface="72 Black"/>
                <a:ea typeface="72 Black"/>
                <a:cs typeface="72 Black"/>
                <a:sym typeface="72 Black"/>
              </a:defRPr>
            </a:lvl1pPr>
          </a:lstStyle>
          <a:p>
            <a:r>
              <a:rPr lang="de-DE" dirty="0"/>
              <a:t>Alert</a:t>
            </a:r>
            <a:endParaRPr dirty="0"/>
          </a:p>
        </p:txBody>
      </p:sp>
      <p:sp>
        <p:nvSpPr>
          <p:cNvPr id="95" name="Untertitel 2"/>
          <p:cNvSpPr txBox="1">
            <a:spLocks noGrp="1"/>
          </p:cNvSpPr>
          <p:nvPr>
            <p:ph type="subTitle" sz="half" idx="1"/>
          </p:nvPr>
        </p:nvSpPr>
        <p:spPr>
          <a:xfrm>
            <a:off x="1523999" y="3602037"/>
            <a:ext cx="9144001" cy="2785316"/>
          </a:xfrm>
          <a:prstGeom prst="rect">
            <a:avLst/>
          </a:prstGeom>
        </p:spPr>
        <p:txBody>
          <a:bodyPr/>
          <a:lstStyle/>
          <a:p>
            <a:r>
              <a:rPr dirty="0"/>
              <a:t>The warning app </a:t>
            </a:r>
          </a:p>
          <a:p>
            <a:endParaRPr dirty="0"/>
          </a:p>
          <a:p>
            <a:r>
              <a:rPr dirty="0"/>
              <a:t>by </a:t>
            </a:r>
          </a:p>
          <a:p>
            <a:r>
              <a:rPr dirty="0"/>
              <a:t>Julia</a:t>
            </a:r>
          </a:p>
          <a:p>
            <a:r>
              <a:rPr dirty="0"/>
              <a:t>Markus</a:t>
            </a:r>
          </a:p>
          <a:p>
            <a:r>
              <a:rPr dirty="0"/>
              <a:t>Peter</a:t>
            </a:r>
          </a:p>
        </p:txBody>
      </p:sp>
    </p:spTree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Titel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Finde in Stadtliste</a:t>
            </a:r>
          </a:p>
        </p:txBody>
      </p:sp>
      <p:sp>
        <p:nvSpPr>
          <p:cNvPr id="141" name="https://www.mithrilandmages.com/utilities/CityBrowse.php"/>
          <p:cNvSpPr txBox="1"/>
          <p:nvPr/>
        </p:nvSpPr>
        <p:spPr>
          <a:xfrm>
            <a:off x="845526" y="1469371"/>
            <a:ext cx="5695800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r>
              <a:t>https://www.mithrilandmages.com/utilities/CityBrowse.php</a:t>
            </a:r>
          </a:p>
        </p:txBody>
      </p:sp>
      <p:sp>
        <p:nvSpPr>
          <p:cNvPr id="142" name="if string is in cities_list: location_list.append()"/>
          <p:cNvSpPr txBox="1"/>
          <p:nvPr/>
        </p:nvSpPr>
        <p:spPr>
          <a:xfrm>
            <a:off x="22244" y="6300487"/>
            <a:ext cx="5563417" cy="5359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 defTabSz="457200">
              <a:lnSpc>
                <a:spcPts val="3500"/>
              </a:lnSpc>
              <a:defRPr sz="1400">
                <a:latin typeface="Menlo Regular"/>
                <a:ea typeface="Menlo Regular"/>
                <a:cs typeface="Menlo Regular"/>
                <a:sym typeface="Menlo Regular"/>
              </a:defRPr>
            </a:pPr>
            <a:r>
              <a:rPr>
                <a:solidFill>
                  <a:srgbClr val="AF00DB"/>
                </a:solidFill>
              </a:rPr>
              <a:t>if</a:t>
            </a:r>
            <a:r>
              <a:t> string </a:t>
            </a:r>
            <a:r>
              <a:rPr>
                <a:solidFill>
                  <a:srgbClr val="0000FF"/>
                </a:solidFill>
              </a:rPr>
              <a:t>is</a:t>
            </a:r>
            <a:r>
              <a:t> </a:t>
            </a:r>
            <a:r>
              <a:rPr>
                <a:solidFill>
                  <a:srgbClr val="0000FF"/>
                </a:solidFill>
              </a:rPr>
              <a:t>in</a:t>
            </a:r>
            <a:r>
              <a:t> cities_list: location_list.append()</a:t>
            </a:r>
          </a:p>
        </p:txBody>
      </p:sp>
      <p:pic>
        <p:nvPicPr>
          <p:cNvPr id="143" name="Bildschirmfoto 2020-10-08 um 23.14.34.png" descr="Bildschirmfoto 2020-10-08 um 23.14.34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53314" y="46345"/>
            <a:ext cx="2469412" cy="6765310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144" name="Tabelle"/>
          <p:cNvGraphicFramePr/>
          <p:nvPr/>
        </p:nvGraphicFramePr>
        <p:xfrm>
          <a:off x="903393" y="2240265"/>
          <a:ext cx="5231518" cy="3510645"/>
        </p:xfrm>
        <a:graphic>
          <a:graphicData uri="http://schemas.openxmlformats.org/drawingml/2006/table">
            <a:tbl>
              <a:tblPr firstRow="1" firstCol="1" bandRow="1">
                <a:tableStyleId>{4C3C2611-4C71-4FC5-86AE-919BDF0F9419}</a:tableStyleId>
              </a:tblPr>
              <a:tblGrid>
                <a:gridCol w="44593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7220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02129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3100">
                          <a:solidFill>
                            <a:srgbClr val="FFFFFF"/>
                          </a:solidFill>
                        </a:rPr>
                        <a:t>Explorative Datenanalyse</a:t>
                      </a:r>
                    </a:p>
                  </a:txBody>
                  <a:tcPr marL="0" marR="0" marT="0" marB="0" horzOverflow="overflow"/>
                </a:tc>
                <a:tc>
                  <a:txBody>
                    <a:bodyPr/>
                    <a:lstStyle/>
                    <a:p>
                      <a:pPr algn="l">
                        <a:defRPr sz="1800"/>
                      </a:pPr>
                      <a:endParaRPr/>
                    </a:p>
                  </a:txBody>
                  <a:tcPr marL="0" marR="0" marT="0" marB="0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2129">
                <a:tc>
                  <a:txBody>
                    <a:bodyPr/>
                    <a:lstStyle/>
                    <a:p>
                      <a:pPr algn="l">
                        <a:defRPr sz="1800"/>
                      </a:pPr>
                      <a:endParaRPr/>
                    </a:p>
                  </a:txBody>
                  <a:tcPr marL="0" marR="0" marT="0" marB="0" horzOverflow="overflow"/>
                </a:tc>
                <a:tc>
                  <a:txBody>
                    <a:bodyPr/>
                    <a:lstStyle/>
                    <a:p>
                      <a:pPr algn="l">
                        <a:defRPr sz="1800"/>
                      </a:pPr>
                      <a:endParaRPr/>
                    </a:p>
                  </a:txBody>
                  <a:tcPr marL="0" marR="0" marT="0" marB="0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2129">
                <a:tc>
                  <a:txBody>
                    <a:bodyPr/>
                    <a:lstStyle/>
                    <a:p>
                      <a:pPr algn="l">
                        <a:defRPr sz="1800"/>
                      </a:pPr>
                      <a:endParaRPr/>
                    </a:p>
                  </a:txBody>
                  <a:tcPr marL="0" marR="0" marT="0" marB="0" horzOverflow="overflow"/>
                </a:tc>
                <a:tc>
                  <a:txBody>
                    <a:bodyPr/>
                    <a:lstStyle/>
                    <a:p>
                      <a:pPr algn="l">
                        <a:defRPr sz="1800"/>
                      </a:pPr>
                      <a:endParaRPr/>
                    </a:p>
                  </a:txBody>
                  <a:tcPr marL="0" marR="0" marT="0" marB="0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2129">
                <a:tc>
                  <a:txBody>
                    <a:bodyPr/>
                    <a:lstStyle/>
                    <a:p>
                      <a:pPr algn="l">
                        <a:defRPr sz="1800"/>
                      </a:pPr>
                      <a:endParaRPr/>
                    </a:p>
                  </a:txBody>
                  <a:tcPr marL="0" marR="0" marT="0" marB="0" horzOverflow="overflow"/>
                </a:tc>
                <a:tc>
                  <a:txBody>
                    <a:bodyPr/>
                    <a:lstStyle/>
                    <a:p>
                      <a:pPr algn="l">
                        <a:defRPr sz="1800"/>
                      </a:pPr>
                      <a:endParaRPr/>
                    </a:p>
                  </a:txBody>
                  <a:tcPr marL="0" marR="0" marT="0" marB="0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02129">
                <a:tc>
                  <a:txBody>
                    <a:bodyPr/>
                    <a:lstStyle/>
                    <a:p>
                      <a:pPr algn="l">
                        <a:defRPr sz="1800"/>
                      </a:pPr>
                      <a:endParaRPr/>
                    </a:p>
                  </a:txBody>
                  <a:tcPr marL="0" marR="0" marT="0" marB="0" horzOverflow="overflow"/>
                </a:tc>
                <a:tc>
                  <a:txBody>
                    <a:bodyPr/>
                    <a:lstStyle/>
                    <a:p>
                      <a:pPr algn="l">
                        <a:defRPr sz="1800"/>
                      </a:pPr>
                      <a:endParaRPr/>
                    </a:p>
                  </a:txBody>
                  <a:tcPr marL="0" marR="0" marT="0" marB="0" horzOverflow="overflow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45" name="Original Data:"/>
          <p:cNvSpPr txBox="1"/>
          <p:nvPr/>
        </p:nvSpPr>
        <p:spPr>
          <a:xfrm>
            <a:off x="2563075" y="3243580"/>
            <a:ext cx="1597904" cy="3073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defTabSz="457200">
              <a:lnSpc>
                <a:spcPts val="3200"/>
              </a:lnSpc>
              <a:defRPr sz="1400">
                <a:solidFill>
                  <a:srgbClr val="212121"/>
                </a:solidFill>
                <a:latin typeface="Courier"/>
                <a:ea typeface="Courier"/>
                <a:cs typeface="Courier"/>
                <a:sym typeface="Courier"/>
              </a:defRPr>
            </a:lvl1pPr>
          </a:lstStyle>
          <a:p>
            <a:r>
              <a:t>Original Data:</a:t>
            </a:r>
          </a:p>
        </p:txBody>
      </p:sp>
      <p:sp>
        <p:nvSpPr>
          <p:cNvPr id="146" name="5080"/>
          <p:cNvSpPr txBox="1"/>
          <p:nvPr/>
        </p:nvSpPr>
        <p:spPr>
          <a:xfrm>
            <a:off x="5503977" y="3243580"/>
            <a:ext cx="530930" cy="3073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defTabSz="457200">
              <a:lnSpc>
                <a:spcPts val="3200"/>
              </a:lnSpc>
              <a:defRPr sz="1400">
                <a:solidFill>
                  <a:srgbClr val="212121"/>
                </a:solidFill>
                <a:latin typeface="Courier"/>
                <a:ea typeface="Courier"/>
                <a:cs typeface="Courier"/>
                <a:sym typeface="Courier"/>
              </a:defRPr>
            </a:lvl1pPr>
          </a:lstStyle>
          <a:p>
            <a:r>
              <a:t>5080</a:t>
            </a:r>
          </a:p>
        </p:txBody>
      </p:sp>
      <p:sp>
        <p:nvSpPr>
          <p:cNvPr id="147" name="Number of locations with True Alert (1)"/>
          <p:cNvSpPr txBox="1"/>
          <p:nvPr/>
        </p:nvSpPr>
        <p:spPr>
          <a:xfrm>
            <a:off x="1063026" y="3917305"/>
            <a:ext cx="4265338" cy="3073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defTabSz="457200">
              <a:lnSpc>
                <a:spcPts val="3200"/>
              </a:lnSpc>
              <a:defRPr sz="1400">
                <a:solidFill>
                  <a:srgbClr val="212121"/>
                </a:solidFill>
                <a:latin typeface="Courier"/>
                <a:ea typeface="Courier"/>
                <a:cs typeface="Courier"/>
                <a:sym typeface="Courier"/>
              </a:defRPr>
            </a:lvl1pPr>
          </a:lstStyle>
          <a:p>
            <a:r>
              <a:t>Number of locations with True Alert (1)</a:t>
            </a:r>
          </a:p>
        </p:txBody>
      </p:sp>
      <p:sp>
        <p:nvSpPr>
          <p:cNvPr id="148" name="Number of locations with False Alert (0)"/>
          <p:cNvSpPr txBox="1"/>
          <p:nvPr/>
        </p:nvSpPr>
        <p:spPr>
          <a:xfrm>
            <a:off x="880308" y="4589779"/>
            <a:ext cx="4372035" cy="3073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defTabSz="457200">
              <a:lnSpc>
                <a:spcPts val="3200"/>
              </a:lnSpc>
              <a:defRPr sz="1400">
                <a:solidFill>
                  <a:srgbClr val="212121"/>
                </a:solidFill>
                <a:latin typeface="Courier"/>
                <a:ea typeface="Courier"/>
                <a:cs typeface="Courier"/>
                <a:sym typeface="Courier"/>
              </a:defRPr>
            </a:lvl1pPr>
          </a:lstStyle>
          <a:p>
            <a:r>
              <a:t>Number of locations with False Alert (0)</a:t>
            </a:r>
          </a:p>
        </p:txBody>
      </p:sp>
      <p:sp>
        <p:nvSpPr>
          <p:cNvPr id="149" name="1328"/>
          <p:cNvSpPr txBox="1"/>
          <p:nvPr/>
        </p:nvSpPr>
        <p:spPr>
          <a:xfrm>
            <a:off x="5503977" y="3841917"/>
            <a:ext cx="530930" cy="3073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defTabSz="457200">
              <a:lnSpc>
                <a:spcPts val="3200"/>
              </a:lnSpc>
              <a:defRPr sz="1400">
                <a:solidFill>
                  <a:srgbClr val="212121"/>
                </a:solidFill>
                <a:latin typeface="Courier"/>
                <a:ea typeface="Courier"/>
                <a:cs typeface="Courier"/>
                <a:sym typeface="Courier"/>
              </a:defRPr>
            </a:lvl1pPr>
          </a:lstStyle>
          <a:p>
            <a:r>
              <a:t>1328</a:t>
            </a:r>
          </a:p>
        </p:txBody>
      </p:sp>
      <p:sp>
        <p:nvSpPr>
          <p:cNvPr id="150" name="2895"/>
          <p:cNvSpPr txBox="1"/>
          <p:nvPr/>
        </p:nvSpPr>
        <p:spPr>
          <a:xfrm>
            <a:off x="5503977" y="5337641"/>
            <a:ext cx="530930" cy="3073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defTabSz="457200">
              <a:lnSpc>
                <a:spcPts val="3200"/>
              </a:lnSpc>
              <a:defRPr sz="1400">
                <a:solidFill>
                  <a:srgbClr val="212121"/>
                </a:solidFill>
                <a:latin typeface="Courier"/>
                <a:ea typeface="Courier"/>
                <a:cs typeface="Courier"/>
                <a:sym typeface="Courier"/>
              </a:defRPr>
            </a:lvl1pPr>
          </a:lstStyle>
          <a:p>
            <a:r>
              <a:t>2895</a:t>
            </a:r>
          </a:p>
        </p:txBody>
      </p:sp>
      <p:sp>
        <p:nvSpPr>
          <p:cNvPr id="151" name="1898"/>
          <p:cNvSpPr txBox="1"/>
          <p:nvPr/>
        </p:nvSpPr>
        <p:spPr>
          <a:xfrm>
            <a:off x="5503977" y="4589779"/>
            <a:ext cx="530930" cy="3073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defTabSz="457200">
              <a:lnSpc>
                <a:spcPts val="3200"/>
              </a:lnSpc>
              <a:defRPr sz="1400">
                <a:solidFill>
                  <a:srgbClr val="212121"/>
                </a:solidFill>
                <a:latin typeface="Courier"/>
                <a:ea typeface="Courier"/>
                <a:cs typeface="Courier"/>
                <a:sym typeface="Courier"/>
              </a:defRPr>
            </a:lvl1pPr>
          </a:lstStyle>
          <a:p>
            <a:r>
              <a:t>1898</a:t>
            </a:r>
          </a:p>
        </p:txBody>
      </p:sp>
      <p:sp>
        <p:nvSpPr>
          <p:cNvPr id="152" name="All data with a locations"/>
          <p:cNvSpPr txBox="1"/>
          <p:nvPr/>
        </p:nvSpPr>
        <p:spPr>
          <a:xfrm>
            <a:off x="1680538" y="5262253"/>
            <a:ext cx="2771575" cy="3073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defTabSz="457200">
              <a:lnSpc>
                <a:spcPts val="3200"/>
              </a:lnSpc>
              <a:defRPr sz="1400">
                <a:solidFill>
                  <a:srgbClr val="212121"/>
                </a:solidFill>
                <a:latin typeface="Courier"/>
                <a:ea typeface="Courier"/>
                <a:cs typeface="Courier"/>
                <a:sym typeface="Courier"/>
              </a:defRPr>
            </a:lvl1pPr>
          </a:lstStyle>
          <a:p>
            <a:r>
              <a:t>All data with a locations</a:t>
            </a:r>
          </a:p>
        </p:txBody>
      </p:sp>
    </p:spTree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Titel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Führt zu sauberen Listen - only</a:t>
            </a:r>
          </a:p>
        </p:txBody>
      </p:sp>
      <p:pic>
        <p:nvPicPr>
          <p:cNvPr id="155" name="Bildschirmfoto 2020-10-08 um 23.29.31.png" descr="Bildschirmfoto 2020-10-08 um 23.29.3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9253" y="1479440"/>
            <a:ext cx="7210981" cy="5010355"/>
          </a:xfrm>
          <a:prstGeom prst="rect">
            <a:avLst/>
          </a:prstGeom>
          <a:ln w="12700">
            <a:miter lim="400000"/>
          </a:ln>
        </p:spPr>
      </p:pic>
      <p:pic>
        <p:nvPicPr>
          <p:cNvPr id="156" name="Bildschirmfoto 2020-10-08 um 23.30.49.png" descr="Bildschirmfoto 2020-10-08 um 23.30.49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26083" y="1373342"/>
            <a:ext cx="4103432" cy="5222550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Eins - sortier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Eins - sortiert</a:t>
            </a:r>
          </a:p>
        </p:txBody>
      </p:sp>
      <p:pic>
        <p:nvPicPr>
          <p:cNvPr id="159" name="Bildschirmfoto 2020-10-08 um 23.34.05.png" descr="Bildschirmfoto 2020-10-08 um 23.34.05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8496" y="1984119"/>
            <a:ext cx="3274393" cy="1940965"/>
          </a:xfrm>
          <a:prstGeom prst="rect">
            <a:avLst/>
          </a:prstGeom>
          <a:ln w="12700">
            <a:miter lim="400000"/>
          </a:ln>
        </p:spPr>
      </p:pic>
      <p:pic>
        <p:nvPicPr>
          <p:cNvPr id="160" name="Bildschirmfoto 2020-10-08 um 23.35.22.png" descr="Bildschirmfoto 2020-10-08 um 23.35.22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9545" y="4287999"/>
            <a:ext cx="3369515" cy="1940965"/>
          </a:xfrm>
          <a:prstGeom prst="rect">
            <a:avLst/>
          </a:prstGeom>
          <a:ln w="12700">
            <a:miter lim="400000"/>
          </a:ln>
        </p:spPr>
      </p:pic>
      <p:pic>
        <p:nvPicPr>
          <p:cNvPr id="161" name="Bildschirmfoto 2020-10-08 um 23.39.41.png" descr="Bildschirmfoto 2020-10-08 um 23.39.41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7683" y="1761071"/>
            <a:ext cx="5257281" cy="3537479"/>
          </a:xfrm>
          <a:prstGeom prst="rect">
            <a:avLst/>
          </a:prstGeom>
          <a:ln w="12700">
            <a:miter lim="400000"/>
          </a:ln>
        </p:spPr>
      </p:pic>
      <p:sp>
        <p:nvSpPr>
          <p:cNvPr id="162" name="0. No Value (79/100)…"/>
          <p:cNvSpPr txBox="1"/>
          <p:nvPr/>
        </p:nvSpPr>
        <p:spPr>
          <a:xfrm>
            <a:off x="849038" y="5368933"/>
            <a:ext cx="5167235" cy="10908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 numCol="2" spcCol="258361"/>
          <a:lstStyle/>
          <a:p>
            <a:r>
              <a:t>0. No Value (79/100)</a:t>
            </a:r>
          </a:p>
          <a:p>
            <a:pPr marL="240631" indent="-240631">
              <a:buSzPct val="100000"/>
              <a:buAutoNum type="arabicPeriod"/>
            </a:pPr>
            <a:r>
              <a:t>USA (67/38)</a:t>
            </a:r>
          </a:p>
          <a:p>
            <a:pPr marL="240631" indent="-240631">
              <a:buSzPct val="100000"/>
              <a:buAutoNum type="arabicPeriod"/>
            </a:pPr>
            <a:r>
              <a:t>Nigeria (28/8)</a:t>
            </a:r>
          </a:p>
          <a:p>
            <a:pPr marL="240631" indent="-240631">
              <a:buSzPct val="100000"/>
              <a:buAutoNum type="arabicPeriod"/>
            </a:pPr>
            <a:r>
              <a:t>United States (27/23)</a:t>
            </a:r>
          </a:p>
          <a:p>
            <a:pPr marL="240631" indent="-240631">
              <a:buSzPct val="100000"/>
              <a:buAutoNum type="arabicPeriod"/>
            </a:pPr>
            <a:r>
              <a:t>india (22/6)</a:t>
            </a:r>
          </a:p>
          <a:p>
            <a:pPr marL="240631" indent="-240631">
              <a:buSzPct val="100000"/>
              <a:buAutoNum type="arabicPeriod"/>
            </a:pPr>
            <a:r>
              <a:t>new York (19/60)</a:t>
            </a:r>
          </a:p>
        </p:txBody>
      </p:sp>
      <p:sp>
        <p:nvSpPr>
          <p:cNvPr id="163" name="Daumen hoch"/>
          <p:cNvSpPr/>
          <p:nvPr/>
        </p:nvSpPr>
        <p:spPr>
          <a:xfrm>
            <a:off x="10127887" y="354316"/>
            <a:ext cx="1209119" cy="13255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30" h="21599" extrusionOk="0">
                <a:moveTo>
                  <a:pt x="8533" y="0"/>
                </a:moveTo>
                <a:cubicBezTo>
                  <a:pt x="8363" y="1"/>
                  <a:pt x="8192" y="58"/>
                  <a:pt x="8054" y="179"/>
                </a:cubicBezTo>
                <a:cubicBezTo>
                  <a:pt x="7531" y="638"/>
                  <a:pt x="6970" y="1441"/>
                  <a:pt x="7087" y="2734"/>
                </a:cubicBezTo>
                <a:cubicBezTo>
                  <a:pt x="7292" y="4997"/>
                  <a:pt x="9344" y="5714"/>
                  <a:pt x="7908" y="8149"/>
                </a:cubicBezTo>
                <a:cubicBezTo>
                  <a:pt x="7908" y="8149"/>
                  <a:pt x="6742" y="8020"/>
                  <a:pt x="4459" y="8430"/>
                </a:cubicBezTo>
                <a:cubicBezTo>
                  <a:pt x="2536" y="8776"/>
                  <a:pt x="1728" y="8552"/>
                  <a:pt x="884" y="8969"/>
                </a:cubicBezTo>
                <a:cubicBezTo>
                  <a:pt x="-570" y="9687"/>
                  <a:pt x="-101" y="11442"/>
                  <a:pt x="1349" y="12003"/>
                </a:cubicBezTo>
                <a:cubicBezTo>
                  <a:pt x="110" y="12750"/>
                  <a:pt x="-255" y="14477"/>
                  <a:pt x="1873" y="15239"/>
                </a:cubicBezTo>
                <a:cubicBezTo>
                  <a:pt x="682" y="16392"/>
                  <a:pt x="668" y="17858"/>
                  <a:pt x="2539" y="18352"/>
                </a:cubicBezTo>
                <a:cubicBezTo>
                  <a:pt x="1295" y="19566"/>
                  <a:pt x="2436" y="21027"/>
                  <a:pt x="3759" y="21027"/>
                </a:cubicBezTo>
                <a:cubicBezTo>
                  <a:pt x="13755" y="21027"/>
                  <a:pt x="12101" y="20342"/>
                  <a:pt x="15234" y="20342"/>
                </a:cubicBezTo>
                <a:cubicBezTo>
                  <a:pt x="18665" y="20342"/>
                  <a:pt x="21030" y="21599"/>
                  <a:pt x="21030" y="21599"/>
                </a:cubicBezTo>
                <a:lnTo>
                  <a:pt x="21030" y="11829"/>
                </a:lnTo>
                <a:cubicBezTo>
                  <a:pt x="21030" y="11829"/>
                  <a:pt x="18103" y="11058"/>
                  <a:pt x="16154" y="10113"/>
                </a:cubicBezTo>
                <a:cubicBezTo>
                  <a:pt x="15350" y="9722"/>
                  <a:pt x="14504" y="9210"/>
                  <a:pt x="13676" y="6613"/>
                </a:cubicBezTo>
                <a:cubicBezTo>
                  <a:pt x="12912" y="4218"/>
                  <a:pt x="11139" y="3961"/>
                  <a:pt x="10515" y="2980"/>
                </a:cubicBezTo>
                <a:cubicBezTo>
                  <a:pt x="10128" y="2452"/>
                  <a:pt x="9578" y="1231"/>
                  <a:pt x="9220" y="425"/>
                </a:cubicBezTo>
                <a:cubicBezTo>
                  <a:pt x="9099" y="153"/>
                  <a:pt x="8817" y="-1"/>
                  <a:pt x="8533" y="0"/>
                </a:cubicBezTo>
                <a:close/>
              </a:path>
            </a:pathLst>
          </a:custGeom>
          <a:solidFill>
            <a:srgbClr val="FFFFFF"/>
          </a:solidFill>
          <a:ln w="1270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Prediction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Prediction</a:t>
            </a:r>
          </a:p>
        </p:txBody>
      </p:sp>
      <p:pic>
        <p:nvPicPr>
          <p:cNvPr id="166" name="Bildschirmfoto 2020-10-08 um 23.57.15.png" descr="Bildschirmfoto 2020-10-08 um 23.57.15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169" y="1663700"/>
            <a:ext cx="3987801" cy="3530601"/>
          </a:xfrm>
          <a:prstGeom prst="rect">
            <a:avLst/>
          </a:prstGeom>
          <a:ln w="12700">
            <a:miter lim="400000"/>
          </a:ln>
        </p:spPr>
      </p:pic>
      <p:sp>
        <p:nvSpPr>
          <p:cNvPr id="167" name="Daumen hoch"/>
          <p:cNvSpPr/>
          <p:nvPr/>
        </p:nvSpPr>
        <p:spPr>
          <a:xfrm rot="10800000" flipH="1">
            <a:off x="10127887" y="354316"/>
            <a:ext cx="1209119" cy="13255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30" h="21599" extrusionOk="0">
                <a:moveTo>
                  <a:pt x="8533" y="0"/>
                </a:moveTo>
                <a:cubicBezTo>
                  <a:pt x="8363" y="1"/>
                  <a:pt x="8192" y="58"/>
                  <a:pt x="8054" y="179"/>
                </a:cubicBezTo>
                <a:cubicBezTo>
                  <a:pt x="7531" y="638"/>
                  <a:pt x="6970" y="1441"/>
                  <a:pt x="7087" y="2734"/>
                </a:cubicBezTo>
                <a:cubicBezTo>
                  <a:pt x="7292" y="4997"/>
                  <a:pt x="9344" y="5714"/>
                  <a:pt x="7908" y="8149"/>
                </a:cubicBezTo>
                <a:cubicBezTo>
                  <a:pt x="7908" y="8149"/>
                  <a:pt x="6742" y="8020"/>
                  <a:pt x="4459" y="8430"/>
                </a:cubicBezTo>
                <a:cubicBezTo>
                  <a:pt x="2536" y="8776"/>
                  <a:pt x="1728" y="8552"/>
                  <a:pt x="884" y="8969"/>
                </a:cubicBezTo>
                <a:cubicBezTo>
                  <a:pt x="-570" y="9687"/>
                  <a:pt x="-101" y="11442"/>
                  <a:pt x="1349" y="12003"/>
                </a:cubicBezTo>
                <a:cubicBezTo>
                  <a:pt x="110" y="12750"/>
                  <a:pt x="-255" y="14477"/>
                  <a:pt x="1873" y="15239"/>
                </a:cubicBezTo>
                <a:cubicBezTo>
                  <a:pt x="682" y="16392"/>
                  <a:pt x="668" y="17858"/>
                  <a:pt x="2539" y="18352"/>
                </a:cubicBezTo>
                <a:cubicBezTo>
                  <a:pt x="1295" y="19566"/>
                  <a:pt x="2436" y="21027"/>
                  <a:pt x="3759" y="21027"/>
                </a:cubicBezTo>
                <a:cubicBezTo>
                  <a:pt x="13755" y="21027"/>
                  <a:pt x="12101" y="20342"/>
                  <a:pt x="15234" y="20342"/>
                </a:cubicBezTo>
                <a:cubicBezTo>
                  <a:pt x="18665" y="20342"/>
                  <a:pt x="21030" y="21599"/>
                  <a:pt x="21030" y="21599"/>
                </a:cubicBezTo>
                <a:lnTo>
                  <a:pt x="21030" y="11829"/>
                </a:lnTo>
                <a:cubicBezTo>
                  <a:pt x="21030" y="11829"/>
                  <a:pt x="18103" y="11058"/>
                  <a:pt x="16154" y="10113"/>
                </a:cubicBezTo>
                <a:cubicBezTo>
                  <a:pt x="15350" y="9722"/>
                  <a:pt x="14504" y="9210"/>
                  <a:pt x="13676" y="6613"/>
                </a:cubicBezTo>
                <a:cubicBezTo>
                  <a:pt x="12912" y="4218"/>
                  <a:pt x="11140" y="3961"/>
                  <a:pt x="10515" y="2980"/>
                </a:cubicBezTo>
                <a:cubicBezTo>
                  <a:pt x="10128" y="2452"/>
                  <a:pt x="9578" y="1231"/>
                  <a:pt x="9220" y="425"/>
                </a:cubicBezTo>
                <a:cubicBezTo>
                  <a:pt x="9099" y="153"/>
                  <a:pt x="8817" y="-1"/>
                  <a:pt x="8533" y="0"/>
                </a:cubicBezTo>
                <a:close/>
              </a:path>
            </a:pathLst>
          </a:custGeom>
          <a:solidFill>
            <a:srgbClr val="FFFFFF"/>
          </a:solidFill>
          <a:ln w="12700">
            <a:solidFill>
              <a:schemeClr val="accent1"/>
            </a:solidFill>
            <a:miter/>
          </a:ln>
        </p:spPr>
        <p:txBody>
          <a:bodyPr lIns="45719" rIns="45719" anchor="ctr"/>
          <a:lstStyle/>
          <a:p>
            <a:endParaRPr/>
          </a:p>
        </p:txBody>
      </p:sp>
      <p:sp>
        <p:nvSpPr>
          <p:cNvPr id="168" name="Cross_val_Score von 0.5898960911623681…"/>
          <p:cNvSpPr txBox="1"/>
          <p:nvPr/>
        </p:nvSpPr>
        <p:spPr>
          <a:xfrm>
            <a:off x="5009728" y="2332781"/>
            <a:ext cx="6098640" cy="16662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 defTabSz="457200">
              <a:lnSpc>
                <a:spcPts val="3200"/>
              </a:lnSpc>
              <a:defRPr sz="1400">
                <a:solidFill>
                  <a:srgbClr val="212121"/>
                </a:solidFill>
                <a:latin typeface="Courier"/>
                <a:ea typeface="Courier"/>
                <a:cs typeface="Courier"/>
                <a:sym typeface="Courier"/>
              </a:defRPr>
            </a:pPr>
            <a:r>
              <a:t>Cross_val_Score von 0.5898960911623681</a:t>
            </a:r>
          </a:p>
          <a:p>
            <a:pPr defTabSz="457200">
              <a:lnSpc>
                <a:spcPts val="3200"/>
              </a:lnSpc>
              <a:defRPr sz="1400">
                <a:solidFill>
                  <a:srgbClr val="212121"/>
                </a:solidFill>
                <a:latin typeface="Courier"/>
                <a:ea typeface="Courier"/>
                <a:cs typeface="Courier"/>
                <a:sym typeface="Courier"/>
              </a:defRPr>
            </a:pPr>
            <a:r>
              <a:t>mit (tfidf_vectorizer_loc,LogisticRegression())</a:t>
            </a:r>
          </a:p>
          <a:p>
            <a:pPr defTabSz="457200">
              <a:lnSpc>
                <a:spcPts val="3200"/>
              </a:lnSpc>
              <a:defRPr sz="1400">
                <a:solidFill>
                  <a:srgbClr val="212121"/>
                </a:solidFill>
                <a:latin typeface="Courier"/>
                <a:ea typeface="Courier"/>
                <a:cs typeface="Courier"/>
                <a:sym typeface="Courier"/>
              </a:defRPr>
            </a:pPr>
            <a:endParaRPr/>
          </a:p>
          <a:p>
            <a:pPr defTabSz="457200">
              <a:lnSpc>
                <a:spcPts val="3500"/>
              </a:lnSpc>
              <a:defRPr sz="1400">
                <a:latin typeface="Menlo Regular"/>
                <a:ea typeface="Menlo Regular"/>
                <a:cs typeface="Menlo Regular"/>
                <a:sym typeface="Menlo Regular"/>
              </a:defRPr>
            </a:pPr>
            <a:r>
              <a:t>tfidf_vectorizer_loc = TfidfVectorizer(analyzer=</a:t>
            </a:r>
            <a:r>
              <a:rPr>
                <a:solidFill>
                  <a:srgbClr val="A31515"/>
                </a:solidFill>
              </a:rPr>
              <a:t>'word'</a:t>
            </a:r>
            <a:r>
              <a:t>, </a:t>
            </a:r>
          </a:p>
          <a:p>
            <a:pPr defTabSz="457200">
              <a:lnSpc>
                <a:spcPts val="3500"/>
              </a:lnSpc>
              <a:defRPr sz="1400">
                <a:latin typeface="Menlo Regular"/>
                <a:ea typeface="Menlo Regular"/>
                <a:cs typeface="Menlo Regular"/>
                <a:sym typeface="Menlo Regular"/>
              </a:defRPr>
            </a:pPr>
            <a:r>
              <a:t>ngram_range=(</a:t>
            </a:r>
            <a:r>
              <a:rPr>
                <a:solidFill>
                  <a:srgbClr val="09885A"/>
                </a:solidFill>
              </a:rPr>
              <a:t>1</a:t>
            </a:r>
            <a:r>
              <a:t>,</a:t>
            </a:r>
            <a:r>
              <a:rPr>
                <a:solidFill>
                  <a:srgbClr val="09885A"/>
                </a:solidFill>
              </a:rPr>
              <a:t>1</a:t>
            </a:r>
            <a:r>
              <a:t>))</a:t>
            </a:r>
          </a:p>
          <a:p>
            <a:pPr defTabSz="457200">
              <a:lnSpc>
                <a:spcPts val="3500"/>
              </a:lnSpc>
              <a:defRPr sz="1400">
                <a:latin typeface="Menlo Regular"/>
                <a:ea typeface="Menlo Regular"/>
                <a:cs typeface="Menlo Regular"/>
                <a:sym typeface="Menlo Regular"/>
              </a:defRPr>
            </a:pPr>
            <a:endParaRPr/>
          </a:p>
        </p:txBody>
      </p:sp>
    </p:spTree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Titel 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t>Progress</a:t>
            </a:r>
          </a:p>
        </p:txBody>
      </p:sp>
      <p:sp>
        <p:nvSpPr>
          <p:cNvPr id="171" name="Inhaltsplatzhalter 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marL="0" indent="0">
              <a:buSzTx/>
              <a:buNone/>
            </a:pPr>
            <a:r>
              <a:t>Day 1:				Day 4:</a:t>
            </a:r>
          </a:p>
          <a:p>
            <a:pPr marL="0" indent="0">
              <a:buSzTx/>
              <a:buNone/>
            </a:pPr>
            <a:r>
              <a:t> </a:t>
            </a:r>
          </a:p>
        </p:txBody>
      </p:sp>
      <p:pic>
        <p:nvPicPr>
          <p:cNvPr id="172" name="Picture 2" descr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952" y="2735244"/>
            <a:ext cx="2943226" cy="2647951"/>
          </a:xfrm>
          <a:prstGeom prst="rect">
            <a:avLst/>
          </a:prstGeom>
          <a:ln w="12700">
            <a:miter lim="400000"/>
          </a:ln>
        </p:spPr>
      </p:pic>
      <p:sp>
        <p:nvSpPr>
          <p:cNvPr id="173" name="Rechteck 4"/>
          <p:cNvSpPr txBox="1"/>
          <p:nvPr/>
        </p:nvSpPr>
        <p:spPr>
          <a:xfrm>
            <a:off x="1072433" y="5681426"/>
            <a:ext cx="2131514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r>
              <a:t>0.7898193760262726</a:t>
            </a:r>
          </a:p>
        </p:txBody>
      </p:sp>
      <p:sp>
        <p:nvSpPr>
          <p:cNvPr id="174" name="Textfeld 5"/>
          <p:cNvSpPr txBox="1"/>
          <p:nvPr/>
        </p:nvSpPr>
        <p:spPr>
          <a:xfrm rot="16200000">
            <a:off x="-1576247" y="3927582"/>
            <a:ext cx="4127342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r>
              <a:t>Score                     Confusion Matrix</a:t>
            </a:r>
          </a:p>
        </p:txBody>
      </p:sp>
      <p:sp>
        <p:nvSpPr>
          <p:cNvPr id="175" name="Textfeld 6"/>
          <p:cNvSpPr txBox="1"/>
          <p:nvPr/>
        </p:nvSpPr>
        <p:spPr>
          <a:xfrm>
            <a:off x="883919" y="2183032"/>
            <a:ext cx="2631442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r>
              <a:t>Tfidf + LogReg Classifier</a:t>
            </a:r>
          </a:p>
        </p:txBody>
      </p:sp>
      <p:sp>
        <p:nvSpPr>
          <p:cNvPr id="176" name="Textfeld 9"/>
          <p:cNvSpPr txBox="1"/>
          <p:nvPr/>
        </p:nvSpPr>
        <p:spPr>
          <a:xfrm>
            <a:off x="4599786" y="2187514"/>
            <a:ext cx="2631442" cy="6502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r>
              <a:t>stacking approach:</a:t>
            </a:r>
          </a:p>
          <a:p>
            <a:r>
              <a:t>LogReg, KNN, Naive Bayes</a:t>
            </a:r>
          </a:p>
        </p:txBody>
      </p:sp>
      <p:sp>
        <p:nvSpPr>
          <p:cNvPr id="177" name="Rechteck 10"/>
          <p:cNvSpPr txBox="1"/>
          <p:nvPr/>
        </p:nvSpPr>
        <p:spPr>
          <a:xfrm>
            <a:off x="4803738" y="5681426"/>
            <a:ext cx="2131515" cy="370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r>
              <a:t>0.8260013131976363</a:t>
            </a:r>
          </a:p>
        </p:txBody>
      </p:sp>
      <p:pic>
        <p:nvPicPr>
          <p:cNvPr id="178" name="Picture 6" descr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2683" y="2907363"/>
            <a:ext cx="2943226" cy="2495551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Titel 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t>Product</a:t>
            </a:r>
          </a:p>
        </p:txBody>
      </p:sp>
      <p:sp>
        <p:nvSpPr>
          <p:cNvPr id="181" name="Inhaltsplatzhalter 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r>
              <a:t>Warning App: </a:t>
            </a:r>
            <a:r>
              <a:rPr sz="1600" u="sng">
                <a:solidFill>
                  <a:srgbClr val="0563C1"/>
                </a:solidFill>
                <a:uFill>
                  <a:solidFill>
                    <a:srgbClr val="0563C1"/>
                  </a:solidFill>
                </a:uFill>
                <a:hlinkClick r:id="rId2"/>
              </a:rPr>
              <a:t>https://x.thunkable.com/copy/57989626327f283cca1815d081083498</a:t>
            </a:r>
          </a:p>
        </p:txBody>
      </p:sp>
    </p:spTree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Titel 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t>Backup</a:t>
            </a:r>
          </a:p>
        </p:txBody>
      </p:sp>
      <p:sp>
        <p:nvSpPr>
          <p:cNvPr id="184" name="Inhaltsplatzhalter 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Titel 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t>Useful graphs</a:t>
            </a:r>
          </a:p>
        </p:txBody>
      </p:sp>
      <p:pic>
        <p:nvPicPr>
          <p:cNvPr id="187" name="Picture 2" descr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4179887"/>
            <a:ext cx="6370321" cy="2544811"/>
          </a:xfrm>
          <a:prstGeom prst="rect">
            <a:avLst/>
          </a:prstGeom>
          <a:ln w="12700">
            <a:miter lim="400000"/>
          </a:ln>
        </p:spPr>
      </p:pic>
      <p:pic>
        <p:nvPicPr>
          <p:cNvPr id="188" name="Picture 4" descr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1473199"/>
            <a:ext cx="3571875" cy="2409826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Titel 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t>Used techniques</a:t>
            </a:r>
          </a:p>
        </p:txBody>
      </p:sp>
      <p:sp>
        <p:nvSpPr>
          <p:cNvPr id="191" name="Inhaltsplatzhalter 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marL="221742" indent="-221742" defTabSz="886968">
              <a:lnSpc>
                <a:spcPct val="81000"/>
              </a:lnSpc>
              <a:spcBef>
                <a:spcPts val="900"/>
              </a:spcBef>
              <a:defRPr sz="2425"/>
            </a:pPr>
            <a:r>
              <a:t>Data wrangling</a:t>
            </a:r>
          </a:p>
          <a:p>
            <a:pPr marL="665226" lvl="1" indent="-221742" defTabSz="886968">
              <a:lnSpc>
                <a:spcPct val="81000"/>
              </a:lnSpc>
              <a:spcBef>
                <a:spcPts val="400"/>
              </a:spcBef>
              <a:defRPr sz="2134"/>
            </a:pPr>
            <a:r>
              <a:t>regex</a:t>
            </a:r>
          </a:p>
          <a:p>
            <a:pPr marL="665226" lvl="1" indent="-221742" defTabSz="886968">
              <a:lnSpc>
                <a:spcPct val="81000"/>
              </a:lnSpc>
              <a:spcBef>
                <a:spcPts val="400"/>
              </a:spcBef>
              <a:defRPr sz="2134"/>
            </a:pPr>
            <a:r>
              <a:t>replace by dict</a:t>
            </a:r>
          </a:p>
          <a:p>
            <a:pPr marL="665226" lvl="1" indent="-221742" defTabSz="886968">
              <a:lnSpc>
                <a:spcPct val="81000"/>
              </a:lnSpc>
              <a:spcBef>
                <a:spcPts val="400"/>
              </a:spcBef>
              <a:defRPr sz="2134"/>
            </a:pPr>
            <a:r>
              <a:t>POS / NER</a:t>
            </a:r>
          </a:p>
          <a:p>
            <a:pPr marL="221742" indent="-221742" defTabSz="886968">
              <a:lnSpc>
                <a:spcPct val="81000"/>
              </a:lnSpc>
              <a:spcBef>
                <a:spcPts val="900"/>
              </a:spcBef>
              <a:defRPr sz="2425"/>
            </a:pPr>
            <a:r>
              <a:t>ML</a:t>
            </a:r>
          </a:p>
          <a:p>
            <a:pPr marL="665226" lvl="1" indent="-221742" defTabSz="886968">
              <a:lnSpc>
                <a:spcPct val="81000"/>
              </a:lnSpc>
              <a:spcBef>
                <a:spcPts val="400"/>
              </a:spcBef>
              <a:defRPr sz="2134"/>
            </a:pPr>
            <a:r>
              <a:t>pipeline</a:t>
            </a:r>
          </a:p>
          <a:p>
            <a:pPr marL="665226" lvl="1" indent="-221742" defTabSz="886968">
              <a:lnSpc>
                <a:spcPct val="81000"/>
              </a:lnSpc>
              <a:spcBef>
                <a:spcPts val="400"/>
              </a:spcBef>
              <a:defRPr sz="2134"/>
            </a:pPr>
            <a:r>
              <a:t>Tfidf</a:t>
            </a:r>
          </a:p>
          <a:p>
            <a:pPr marL="665226" lvl="1" indent="-221742" defTabSz="886968">
              <a:lnSpc>
                <a:spcPct val="81000"/>
              </a:lnSpc>
              <a:spcBef>
                <a:spcPts val="400"/>
              </a:spcBef>
              <a:defRPr sz="2134"/>
            </a:pPr>
            <a:r>
              <a:t>CountVectorizer</a:t>
            </a:r>
          </a:p>
          <a:p>
            <a:pPr marL="665226" lvl="1" indent="-221742" defTabSz="886968">
              <a:lnSpc>
                <a:spcPct val="81000"/>
              </a:lnSpc>
              <a:spcBef>
                <a:spcPts val="400"/>
              </a:spcBef>
              <a:defRPr sz="2134"/>
            </a:pPr>
            <a:r>
              <a:t>XGBClassifier</a:t>
            </a:r>
          </a:p>
          <a:p>
            <a:pPr marL="665226" lvl="1" indent="-221742" defTabSz="886968">
              <a:lnSpc>
                <a:spcPct val="81000"/>
              </a:lnSpc>
              <a:spcBef>
                <a:spcPts val="400"/>
              </a:spcBef>
              <a:defRPr sz="2134"/>
            </a:pPr>
            <a:r>
              <a:t>stacking</a:t>
            </a:r>
          </a:p>
          <a:p>
            <a:pPr marL="221742" indent="-221742" defTabSz="886968">
              <a:lnSpc>
                <a:spcPct val="81000"/>
              </a:lnSpc>
              <a:spcBef>
                <a:spcPts val="900"/>
              </a:spcBef>
              <a:defRPr sz="2425"/>
            </a:pPr>
            <a:r>
              <a:t>App</a:t>
            </a:r>
          </a:p>
          <a:p>
            <a:pPr marL="665226" lvl="1" indent="-221742" defTabSz="886968">
              <a:lnSpc>
                <a:spcPct val="81000"/>
              </a:lnSpc>
              <a:spcBef>
                <a:spcPts val="400"/>
              </a:spcBef>
              <a:defRPr sz="2134"/>
            </a:pPr>
            <a:r>
              <a:t>thunkable</a:t>
            </a:r>
          </a:p>
        </p:txBody>
      </p:sp>
    </p:spTree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Titel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Workbench</a:t>
            </a:r>
          </a:p>
        </p:txBody>
      </p:sp>
      <p:sp>
        <p:nvSpPr>
          <p:cNvPr id="122" name="# cleaning: df.replace(&quot;[^a-zA-Z' ]“).split().lower().re.findall().stopwords."/>
          <p:cNvSpPr txBox="1"/>
          <p:nvPr/>
        </p:nvSpPr>
        <p:spPr>
          <a:xfrm>
            <a:off x="-4952" y="6311900"/>
            <a:ext cx="8346577" cy="19837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 defTabSz="457200">
              <a:lnSpc>
                <a:spcPts val="3500"/>
              </a:lnSpc>
              <a:defRPr sz="1400">
                <a:solidFill>
                  <a:srgbClr val="008000"/>
                </a:solidFill>
                <a:latin typeface="Menlo Regular"/>
                <a:ea typeface="Menlo Regular"/>
                <a:cs typeface="Menlo Regular"/>
                <a:sym typeface="Menlo Regular"/>
              </a:defRPr>
            </a:pPr>
            <a:r>
              <a:t># cleaning: df.replace("[^a-zA-Z' ]“).split().lower().re.findall().stopwords.</a:t>
            </a:r>
          </a:p>
          <a:p>
            <a:pPr defTabSz="457200">
              <a:lnSpc>
                <a:spcPts val="3500"/>
              </a:lnSpc>
              <a:defRPr sz="1400">
                <a:solidFill>
                  <a:srgbClr val="008000"/>
                </a:solidFill>
                <a:latin typeface="Menlo Regular"/>
                <a:ea typeface="Menlo Regular"/>
                <a:cs typeface="Menlo Regular"/>
                <a:sym typeface="Menlo Regular"/>
              </a:defRPr>
            </a:pPr>
            <a:endParaRPr/>
          </a:p>
          <a:p>
            <a:pPr defTabSz="457200">
              <a:lnSpc>
                <a:spcPts val="3500"/>
              </a:lnSpc>
              <a:defRPr sz="1400">
                <a:solidFill>
                  <a:srgbClr val="008000"/>
                </a:solidFill>
                <a:latin typeface="Menlo Regular"/>
                <a:ea typeface="Menlo Regular"/>
                <a:cs typeface="Menlo Regular"/>
                <a:sym typeface="Menlo Regular"/>
              </a:defRPr>
            </a:pPr>
            <a:endParaRPr/>
          </a:p>
          <a:p>
            <a:pPr defTabSz="457200">
              <a:lnSpc>
                <a:spcPts val="3500"/>
              </a:lnSpc>
              <a:defRPr sz="1400">
                <a:solidFill>
                  <a:srgbClr val="008000"/>
                </a:solidFill>
                <a:latin typeface="Menlo Regular"/>
                <a:ea typeface="Menlo Regular"/>
                <a:cs typeface="Menlo Regular"/>
                <a:sym typeface="Menlo Regular"/>
              </a:defRPr>
            </a:pPr>
            <a:endParaRPr/>
          </a:p>
          <a:p>
            <a:pPr defTabSz="457200">
              <a:lnSpc>
                <a:spcPts val="3500"/>
              </a:lnSpc>
              <a:defRPr sz="1400">
                <a:solidFill>
                  <a:srgbClr val="008000"/>
                </a:solidFill>
                <a:latin typeface="Menlo Regular"/>
                <a:ea typeface="Menlo Regular"/>
                <a:cs typeface="Menlo Regular"/>
                <a:sym typeface="Menlo Regular"/>
              </a:defRPr>
            </a:pPr>
            <a:endParaRPr>
              <a:solidFill>
                <a:srgbClr val="000000"/>
              </a:solidFill>
            </a:endParaRPr>
          </a:p>
          <a:p>
            <a:pPr defTabSz="457200">
              <a:lnSpc>
                <a:spcPts val="3500"/>
              </a:lnSpc>
              <a:defRPr sz="1400">
                <a:solidFill>
                  <a:srgbClr val="008000"/>
                </a:solidFill>
                <a:latin typeface="Menlo Regular"/>
                <a:ea typeface="Menlo Regular"/>
                <a:cs typeface="Menlo Regular"/>
                <a:sym typeface="Menlo Regular"/>
              </a:defRPr>
            </a:pPr>
            <a:endParaRPr>
              <a:solidFill>
                <a:srgbClr val="000000"/>
              </a:solidFill>
            </a:endParaRPr>
          </a:p>
          <a:p>
            <a:pPr defTabSz="457200">
              <a:lnSpc>
                <a:spcPts val="3500"/>
              </a:lnSpc>
              <a:defRPr sz="1400">
                <a:solidFill>
                  <a:srgbClr val="008000"/>
                </a:solidFill>
                <a:latin typeface="Menlo Regular"/>
                <a:ea typeface="Menlo Regular"/>
                <a:cs typeface="Menlo Regular"/>
                <a:sym typeface="Menlo Regular"/>
              </a:defRPr>
            </a:pPr>
            <a:endParaRPr>
              <a:solidFill>
                <a:srgbClr val="000000"/>
              </a:solidFill>
            </a:endParaRPr>
          </a:p>
        </p:txBody>
      </p:sp>
      <p:pic>
        <p:nvPicPr>
          <p:cNvPr id="123" name="Bildschirmfoto 2020-10-08 um 22.25.11.png" descr="Bildschirmfoto 2020-10-08 um 22.25.1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1016" y="1317318"/>
            <a:ext cx="10515601" cy="4959677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itel 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t>Task</a:t>
            </a:r>
          </a:p>
        </p:txBody>
      </p:sp>
      <p:sp>
        <p:nvSpPr>
          <p:cNvPr id="98" name="Inhaltsplatzhalter 2"/>
          <p:cNvSpPr txBox="1">
            <a:spLocks noGrp="1"/>
          </p:cNvSpPr>
          <p:nvPr>
            <p:ph type="body" sz="half" idx="1"/>
          </p:nvPr>
        </p:nvSpPr>
        <p:spPr>
          <a:xfrm>
            <a:off x="838200" y="1825625"/>
            <a:ext cx="5633390" cy="4351338"/>
          </a:xfrm>
          <a:prstGeom prst="rect">
            <a:avLst/>
          </a:prstGeom>
        </p:spPr>
        <p:txBody>
          <a:bodyPr/>
          <a:lstStyle>
            <a:lvl1pPr marL="0" indent="0">
              <a:buSzTx/>
              <a:buNone/>
            </a:lvl1pPr>
          </a:lstStyle>
          <a:p>
            <a:r>
              <a:t>Build a model which is capable of correctly classify tweets as either disaster tweets or false alerts</a:t>
            </a:r>
          </a:p>
        </p:txBody>
      </p:sp>
      <p:pic>
        <p:nvPicPr>
          <p:cNvPr id="99" name="Bildschirmfoto 2020-10-08 um 20.52.41.png" descr="Bildschirmfoto 2020-10-08 um 20.52.4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10493" y="926930"/>
            <a:ext cx="3828672" cy="5004140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Titel 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t>Strategy</a:t>
            </a:r>
          </a:p>
        </p:txBody>
      </p:sp>
      <p:sp>
        <p:nvSpPr>
          <p:cNvPr id="102" name="Inhaltsplatzhalter 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r>
              <a:t>data exploration</a:t>
            </a:r>
          </a:p>
          <a:p>
            <a:r>
              <a:t>clean keywords</a:t>
            </a:r>
          </a:p>
          <a:p>
            <a:r>
              <a:t>transform text via NLP techniques</a:t>
            </a:r>
          </a:p>
          <a:p>
            <a:r>
              <a:t>perform different ML approaches to find best differentiator model</a:t>
            </a:r>
          </a:p>
          <a:p>
            <a:r>
              <a:t>build app using a ML pipeline to predict alert situations</a:t>
            </a:r>
          </a:p>
        </p:txBody>
      </p:sp>
    </p:spTree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el 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t>Workbench</a:t>
            </a:r>
          </a:p>
        </p:txBody>
      </p:sp>
      <p:sp>
        <p:nvSpPr>
          <p:cNvPr id="105" name="Inhaltsplatzhalter 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r>
              <a:t>Day 1: </a:t>
            </a:r>
          </a:p>
          <a:p>
            <a:pPr marL="685800" lvl="1" indent="-228600">
              <a:spcBef>
                <a:spcPts val="500"/>
              </a:spcBef>
              <a:defRPr sz="2400"/>
            </a:pPr>
            <a:r>
              <a:t>Setup strategy, git project (group)</a:t>
            </a:r>
          </a:p>
          <a:p>
            <a:pPr marL="685800" lvl="1" indent="-228600">
              <a:spcBef>
                <a:spcPts val="500"/>
              </a:spcBef>
              <a:defRPr sz="2400"/>
            </a:pPr>
            <a:r>
              <a:t>data wrangling ( group)</a:t>
            </a:r>
          </a:p>
          <a:p>
            <a:pPr marL="685800" lvl="1" indent="-228600">
              <a:spcBef>
                <a:spcPts val="500"/>
              </a:spcBef>
              <a:defRPr sz="2400"/>
            </a:pPr>
            <a:r>
              <a:t>NLP basics (group)</a:t>
            </a:r>
          </a:p>
          <a:p>
            <a:pPr marL="685800" lvl="1" indent="-228600">
              <a:spcBef>
                <a:spcPts val="500"/>
              </a:spcBef>
              <a:defRPr sz="2400"/>
            </a:pPr>
            <a:r>
              <a:t>first prediction (group)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6FD41E5C-9E5F-4AEE-B529-59BB4371FC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8781" y="2893512"/>
            <a:ext cx="4633748" cy="2788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Titel 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t>Workbench</a:t>
            </a:r>
          </a:p>
        </p:txBody>
      </p:sp>
      <p:sp>
        <p:nvSpPr>
          <p:cNvPr id="109" name="Inhaltsplatzhalter 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4998929" cy="4351338"/>
          </a:xfrm>
          <a:prstGeom prst="rect">
            <a:avLst/>
          </a:prstGeom>
        </p:spPr>
        <p:txBody>
          <a:bodyPr/>
          <a:lstStyle/>
          <a:p>
            <a:r>
              <a:rPr dirty="0"/>
              <a:t>Day 2:</a:t>
            </a:r>
          </a:p>
          <a:p>
            <a:pPr marL="685800" lvl="1" indent="-228600">
              <a:spcBef>
                <a:spcPts val="500"/>
              </a:spcBef>
              <a:defRPr sz="2400"/>
            </a:pPr>
            <a:r>
              <a:rPr dirty="0"/>
              <a:t>find best pipe to predict real and false alerts (individual)</a:t>
            </a:r>
          </a:p>
          <a:p>
            <a:pPr marL="685800" lvl="1" indent="-228600">
              <a:spcBef>
                <a:spcPts val="500"/>
              </a:spcBef>
              <a:defRPr sz="2400"/>
            </a:pPr>
            <a:r>
              <a:rPr dirty="0"/>
              <a:t>visualize keyword distribution depending on alert state (individual)</a:t>
            </a:r>
          </a:p>
          <a:p>
            <a:pPr marL="685800" lvl="1" indent="-228600">
              <a:spcBef>
                <a:spcPts val="500"/>
              </a:spcBef>
              <a:defRPr sz="2400"/>
            </a:pPr>
            <a:r>
              <a:rPr dirty="0"/>
              <a:t>programming warning app for users (individual) </a:t>
            </a:r>
          </a:p>
          <a:p>
            <a:pPr marL="685800" lvl="1" indent="-228600">
              <a:spcBef>
                <a:spcPts val="500"/>
              </a:spcBef>
              <a:defRPr sz="2400"/>
            </a:pPr>
            <a:endParaRPr dirty="0"/>
          </a:p>
          <a:p>
            <a:pPr marL="685800" lvl="1" indent="-228600">
              <a:spcBef>
                <a:spcPts val="500"/>
              </a:spcBef>
              <a:defRPr sz="2400"/>
            </a:pPr>
            <a:endParaRPr dirty="0"/>
          </a:p>
        </p:txBody>
      </p:sp>
      <p:pic>
        <p:nvPicPr>
          <p:cNvPr id="110" name="Picture 4" descr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825625"/>
            <a:ext cx="5314587" cy="3585575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Titel 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t>Workbench</a:t>
            </a:r>
          </a:p>
        </p:txBody>
      </p:sp>
      <p:sp>
        <p:nvSpPr>
          <p:cNvPr id="113" name="Inhaltsplatzhalter 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r>
              <a:rPr dirty="0"/>
              <a:t>Day 3: </a:t>
            </a:r>
          </a:p>
          <a:p>
            <a:pPr marL="685800" lvl="1" indent="-228600">
              <a:spcBef>
                <a:spcPts val="500"/>
              </a:spcBef>
              <a:defRPr sz="2400"/>
            </a:pPr>
            <a:r>
              <a:rPr dirty="0"/>
              <a:t>Git (group)</a:t>
            </a:r>
          </a:p>
          <a:p>
            <a:pPr marL="685800" lvl="1" indent="-228600">
              <a:spcBef>
                <a:spcPts val="500"/>
              </a:spcBef>
              <a:defRPr sz="2400"/>
            </a:pPr>
            <a:r>
              <a:rPr dirty="0"/>
              <a:t>different NLP and ML techniques ( group)</a:t>
            </a:r>
          </a:p>
          <a:p>
            <a:pPr marL="685800" lvl="1" indent="-228600">
              <a:spcBef>
                <a:spcPts val="500"/>
              </a:spcBef>
              <a:defRPr sz="2400"/>
            </a:pPr>
            <a:r>
              <a:rPr dirty="0"/>
              <a:t>many different models tested</a:t>
            </a:r>
          </a:p>
          <a:p>
            <a:pPr marL="685800" lvl="1" indent="-228600">
              <a:spcBef>
                <a:spcPts val="500"/>
              </a:spcBef>
              <a:defRPr sz="2400"/>
            </a:pPr>
            <a:endParaRPr dirty="0"/>
          </a:p>
          <a:p>
            <a:pPr marL="685800" lvl="1" indent="-228600">
              <a:spcBef>
                <a:spcPts val="500"/>
              </a:spcBef>
              <a:defRPr sz="2400"/>
            </a:pPr>
            <a:endParaRPr dirty="0"/>
          </a:p>
          <a:p>
            <a:r>
              <a:rPr dirty="0"/>
              <a:t>Markus </a:t>
            </a:r>
            <a:r>
              <a:rPr dirty="0" err="1"/>
              <a:t>mit</a:t>
            </a:r>
            <a:r>
              <a:rPr dirty="0"/>
              <a:t> </a:t>
            </a:r>
            <a:r>
              <a:rPr dirty="0" err="1"/>
              <a:t>großen</a:t>
            </a:r>
            <a:r>
              <a:rPr dirty="0"/>
              <a:t> </a:t>
            </a:r>
            <a:r>
              <a:rPr dirty="0" err="1"/>
              <a:t>Tabellen</a:t>
            </a:r>
            <a:r>
              <a:rPr dirty="0"/>
              <a:t> + </a:t>
            </a:r>
            <a:r>
              <a:rPr dirty="0" err="1"/>
              <a:t>einer</a:t>
            </a:r>
            <a:r>
              <a:rPr dirty="0"/>
              <a:t> Live Prediction</a:t>
            </a:r>
            <a:r>
              <a:rPr lang="de-DE" dirty="0"/>
              <a:t> im </a:t>
            </a:r>
            <a:r>
              <a:rPr lang="de-DE" dirty="0" err="1"/>
              <a:t>colab</a:t>
            </a:r>
            <a:r>
              <a:rPr lang="de-DE" dirty="0"/>
              <a:t>!</a:t>
            </a:r>
            <a:endParaRPr dirty="0"/>
          </a:p>
        </p:txBody>
      </p:sp>
    </p:spTree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Titel 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t>Workbench</a:t>
            </a:r>
          </a:p>
        </p:txBody>
      </p:sp>
      <p:sp>
        <p:nvSpPr>
          <p:cNvPr id="116" name="Inhaltsplatzhalter 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r>
              <a:t>Day 4:   df['location_clean']</a:t>
            </a:r>
          </a:p>
        </p:txBody>
      </p:sp>
      <p:pic>
        <p:nvPicPr>
          <p:cNvPr id="117" name="Bildschirmfoto 2020-10-08 um 22.12.02.png" descr="Bildschirmfoto 2020-10-08 um 22.12.02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04246" y="-1"/>
            <a:ext cx="3913585" cy="6858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118" name="Bildschirmfoto 2020-10-08 um 22.22.10.png" descr="Bildschirmfoto 2020-10-08 um 22.22.10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807149" y="2541784"/>
            <a:ext cx="5163677" cy="3693115"/>
          </a:xfrm>
          <a:prstGeom prst="rect">
            <a:avLst/>
          </a:prstGeom>
          <a:ln w="12700">
            <a:miter lim="400000"/>
          </a:ln>
        </p:spPr>
      </p:pic>
      <p:sp>
        <p:nvSpPr>
          <p:cNvPr id="119" name="No Value"/>
          <p:cNvSpPr txBox="1"/>
          <p:nvPr/>
        </p:nvSpPr>
        <p:spPr>
          <a:xfrm>
            <a:off x="1169082" y="5552042"/>
            <a:ext cx="474177" cy="2184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800"/>
            </a:lvl1pPr>
          </a:lstStyle>
          <a:p>
            <a:r>
              <a:t>No Value</a:t>
            </a:r>
          </a:p>
        </p:txBody>
      </p:sp>
    </p:spTree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A1D2B31-C9F3-4A8B-853F-10A60A05D2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2421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4" imgW="499" imgH="499" progId="TCLayout.ActiveDocument.1">
                  <p:embed/>
                </p:oleObj>
              </mc:Choice>
              <mc:Fallback>
                <p:oleObj name="think-cell Folie" r:id="rId4" imgW="499" imgH="49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A1D2B31-C9F3-4A8B-853F-10A60A05D2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schirmfoto 2020-10-08 um 22.25.11.png" descr="Bildschirmfoto 2020-10-08 um 22.25.11.png">
            <a:extLst>
              <a:ext uri="{FF2B5EF4-FFF2-40B4-BE49-F238E27FC236}">
                <a16:creationId xmlns:a16="http://schemas.microsoft.com/office/drawing/2014/main" id="{F6EC72AC-55A5-4151-8359-96791C382B0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6657" y="1317318"/>
            <a:ext cx="6633863" cy="4959677"/>
          </a:xfrm>
          <a:prstGeom prst="rect">
            <a:avLst/>
          </a:prstGeom>
          <a:ln w="12700">
            <a:miter lim="400000"/>
          </a:ln>
        </p:spPr>
      </p:pic>
      <p:sp>
        <p:nvSpPr>
          <p:cNvPr id="130" name="Titel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Workbench</a:t>
            </a:r>
          </a:p>
        </p:txBody>
      </p:sp>
      <p:sp>
        <p:nvSpPr>
          <p:cNvPr id="131" name="doc_loc =df['location_clean'].apply( lambda satz: nlp(satz) )"/>
          <p:cNvSpPr txBox="1"/>
          <p:nvPr/>
        </p:nvSpPr>
        <p:spPr>
          <a:xfrm>
            <a:off x="-4952" y="6311900"/>
            <a:ext cx="6633863" cy="19837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 defTabSz="457200">
              <a:lnSpc>
                <a:spcPts val="3500"/>
              </a:lnSpc>
              <a:defRPr sz="1400">
                <a:latin typeface="Menlo Regular"/>
                <a:ea typeface="Menlo Regular"/>
                <a:cs typeface="Menlo Regular"/>
                <a:sym typeface="Menlo Regular"/>
              </a:defRPr>
            </a:pPr>
            <a:r>
              <a:t>doc_loc =df[</a:t>
            </a:r>
            <a:r>
              <a:rPr>
                <a:solidFill>
                  <a:srgbClr val="A31515"/>
                </a:solidFill>
              </a:rPr>
              <a:t>'location_clean'</a:t>
            </a:r>
            <a:r>
              <a:t>].apply( </a:t>
            </a:r>
            <a:r>
              <a:rPr>
                <a:solidFill>
                  <a:srgbClr val="0000FF"/>
                </a:solidFill>
              </a:rPr>
              <a:t>lambda</a:t>
            </a:r>
            <a:r>
              <a:t> satz: nlp(satz) )</a:t>
            </a:r>
          </a:p>
          <a:p>
            <a:pPr defTabSz="457200">
              <a:lnSpc>
                <a:spcPts val="3500"/>
              </a:lnSpc>
              <a:defRPr sz="1400">
                <a:solidFill>
                  <a:srgbClr val="008000"/>
                </a:solidFill>
                <a:latin typeface="Menlo Regular"/>
                <a:ea typeface="Menlo Regular"/>
                <a:cs typeface="Menlo Regular"/>
                <a:sym typeface="Menlo Regular"/>
              </a:defRPr>
            </a:pPr>
            <a:endParaRPr/>
          </a:p>
          <a:p>
            <a:pPr defTabSz="457200">
              <a:lnSpc>
                <a:spcPts val="3500"/>
              </a:lnSpc>
              <a:defRPr sz="1400">
                <a:solidFill>
                  <a:srgbClr val="008000"/>
                </a:solidFill>
                <a:latin typeface="Menlo Regular"/>
                <a:ea typeface="Menlo Regular"/>
                <a:cs typeface="Menlo Regular"/>
                <a:sym typeface="Menlo Regular"/>
              </a:defRPr>
            </a:pPr>
            <a:endParaRPr/>
          </a:p>
          <a:p>
            <a:pPr defTabSz="457200">
              <a:lnSpc>
                <a:spcPts val="3500"/>
              </a:lnSpc>
              <a:defRPr sz="1400">
                <a:solidFill>
                  <a:srgbClr val="008000"/>
                </a:solidFill>
                <a:latin typeface="Menlo Regular"/>
                <a:ea typeface="Menlo Regular"/>
                <a:cs typeface="Menlo Regular"/>
                <a:sym typeface="Menlo Regular"/>
              </a:defRPr>
            </a:pPr>
            <a:endParaRPr/>
          </a:p>
          <a:p>
            <a:pPr defTabSz="457200">
              <a:lnSpc>
                <a:spcPts val="3500"/>
              </a:lnSpc>
              <a:defRPr sz="1400">
                <a:solidFill>
                  <a:srgbClr val="008000"/>
                </a:solidFill>
                <a:latin typeface="Menlo Regular"/>
                <a:ea typeface="Menlo Regular"/>
                <a:cs typeface="Menlo Regular"/>
                <a:sym typeface="Menlo Regular"/>
              </a:defRPr>
            </a:pPr>
            <a:endParaRPr>
              <a:solidFill>
                <a:srgbClr val="000000"/>
              </a:solidFill>
            </a:endParaRPr>
          </a:p>
          <a:p>
            <a:pPr defTabSz="457200">
              <a:lnSpc>
                <a:spcPts val="3500"/>
              </a:lnSpc>
              <a:defRPr sz="1400">
                <a:solidFill>
                  <a:srgbClr val="008000"/>
                </a:solidFill>
                <a:latin typeface="Menlo Regular"/>
                <a:ea typeface="Menlo Regular"/>
                <a:cs typeface="Menlo Regular"/>
                <a:sym typeface="Menlo Regular"/>
              </a:defRPr>
            </a:pPr>
            <a:endParaRPr>
              <a:solidFill>
                <a:srgbClr val="000000"/>
              </a:solidFill>
            </a:endParaRPr>
          </a:p>
          <a:p>
            <a:pPr defTabSz="457200">
              <a:lnSpc>
                <a:spcPts val="3500"/>
              </a:lnSpc>
              <a:defRPr sz="1400">
                <a:solidFill>
                  <a:srgbClr val="008000"/>
                </a:solidFill>
                <a:latin typeface="Menlo Regular"/>
                <a:ea typeface="Menlo Regular"/>
                <a:cs typeface="Menlo Regular"/>
                <a:sym typeface="Menlo Regular"/>
              </a:defRPr>
            </a:pPr>
            <a:endParaRPr>
              <a:solidFill>
                <a:srgbClr val="000000"/>
              </a:solidFill>
            </a:endParaRPr>
          </a:p>
        </p:txBody>
      </p:sp>
      <p:pic>
        <p:nvPicPr>
          <p:cNvPr id="132" name="Bildschirmfoto 2020-10-08 um 22.38.22.png" descr="Bildschirmfoto 2020-10-08 um 22.38.22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84632" y="609599"/>
            <a:ext cx="6197601" cy="5638801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Titel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Finde den Fehler</a:t>
            </a:r>
          </a:p>
        </p:txBody>
      </p:sp>
      <p:sp>
        <p:nvSpPr>
          <p:cNvPr id="135" name="displacy.render(doc_loc, style=&quot;ent&quot;, jupyter=True)"/>
          <p:cNvSpPr txBox="1"/>
          <p:nvPr/>
        </p:nvSpPr>
        <p:spPr>
          <a:xfrm>
            <a:off x="-4952" y="6311900"/>
            <a:ext cx="5563417" cy="19837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 defTabSz="457200">
              <a:lnSpc>
                <a:spcPts val="3500"/>
              </a:lnSpc>
              <a:defRPr sz="1400">
                <a:latin typeface="Menlo Regular"/>
                <a:ea typeface="Menlo Regular"/>
                <a:cs typeface="Menlo Regular"/>
                <a:sym typeface="Menlo Regular"/>
              </a:defRPr>
            </a:pPr>
            <a:r>
              <a:t>displacy.render(doc_loc, style=</a:t>
            </a:r>
            <a:r>
              <a:rPr>
                <a:solidFill>
                  <a:srgbClr val="A31515"/>
                </a:solidFill>
              </a:rPr>
              <a:t>"ent"</a:t>
            </a:r>
            <a:r>
              <a:t>, jupyter=</a:t>
            </a:r>
            <a:r>
              <a:rPr>
                <a:solidFill>
                  <a:srgbClr val="0000FF"/>
                </a:solidFill>
              </a:rPr>
              <a:t>True</a:t>
            </a:r>
            <a:r>
              <a:t>)</a:t>
            </a:r>
          </a:p>
          <a:p>
            <a:pPr defTabSz="457200">
              <a:lnSpc>
                <a:spcPts val="3500"/>
              </a:lnSpc>
              <a:defRPr sz="1400">
                <a:solidFill>
                  <a:srgbClr val="008000"/>
                </a:solidFill>
                <a:latin typeface="Menlo Regular"/>
                <a:ea typeface="Menlo Regular"/>
                <a:cs typeface="Menlo Regular"/>
                <a:sym typeface="Menlo Regular"/>
              </a:defRPr>
            </a:pPr>
            <a:endParaRPr/>
          </a:p>
          <a:p>
            <a:pPr defTabSz="457200">
              <a:lnSpc>
                <a:spcPts val="3500"/>
              </a:lnSpc>
              <a:defRPr sz="1400">
                <a:solidFill>
                  <a:srgbClr val="008000"/>
                </a:solidFill>
                <a:latin typeface="Menlo Regular"/>
                <a:ea typeface="Menlo Regular"/>
                <a:cs typeface="Menlo Regular"/>
                <a:sym typeface="Menlo Regular"/>
              </a:defRPr>
            </a:pPr>
            <a:endParaRPr/>
          </a:p>
          <a:p>
            <a:pPr defTabSz="457200">
              <a:lnSpc>
                <a:spcPts val="3500"/>
              </a:lnSpc>
              <a:defRPr sz="1400">
                <a:solidFill>
                  <a:srgbClr val="008000"/>
                </a:solidFill>
                <a:latin typeface="Menlo Regular"/>
                <a:ea typeface="Menlo Regular"/>
                <a:cs typeface="Menlo Regular"/>
                <a:sym typeface="Menlo Regular"/>
              </a:defRPr>
            </a:pPr>
            <a:endParaRPr/>
          </a:p>
          <a:p>
            <a:pPr defTabSz="457200">
              <a:lnSpc>
                <a:spcPts val="3500"/>
              </a:lnSpc>
              <a:defRPr sz="1400">
                <a:solidFill>
                  <a:srgbClr val="008000"/>
                </a:solidFill>
                <a:latin typeface="Menlo Regular"/>
                <a:ea typeface="Menlo Regular"/>
                <a:cs typeface="Menlo Regular"/>
                <a:sym typeface="Menlo Regular"/>
              </a:defRPr>
            </a:pPr>
            <a:endParaRPr>
              <a:solidFill>
                <a:srgbClr val="000000"/>
              </a:solidFill>
            </a:endParaRPr>
          </a:p>
          <a:p>
            <a:pPr defTabSz="457200">
              <a:lnSpc>
                <a:spcPts val="3500"/>
              </a:lnSpc>
              <a:defRPr sz="1400">
                <a:solidFill>
                  <a:srgbClr val="008000"/>
                </a:solidFill>
                <a:latin typeface="Menlo Regular"/>
                <a:ea typeface="Menlo Regular"/>
                <a:cs typeface="Menlo Regular"/>
                <a:sym typeface="Menlo Regular"/>
              </a:defRPr>
            </a:pPr>
            <a:endParaRPr>
              <a:solidFill>
                <a:srgbClr val="000000"/>
              </a:solidFill>
            </a:endParaRPr>
          </a:p>
          <a:p>
            <a:pPr defTabSz="457200">
              <a:lnSpc>
                <a:spcPts val="3500"/>
              </a:lnSpc>
              <a:defRPr sz="1400">
                <a:solidFill>
                  <a:srgbClr val="008000"/>
                </a:solidFill>
                <a:latin typeface="Menlo Regular"/>
                <a:ea typeface="Menlo Regular"/>
                <a:cs typeface="Menlo Regular"/>
                <a:sym typeface="Menlo Regular"/>
              </a:defRPr>
            </a:pPr>
            <a:endParaRPr>
              <a:solidFill>
                <a:srgbClr val="000000"/>
              </a:solidFill>
            </a:endParaRPr>
          </a:p>
        </p:txBody>
      </p:sp>
      <p:pic>
        <p:nvPicPr>
          <p:cNvPr id="136" name="Bildschirmfoto 2020-10-08 um 22.38.22.png" descr="Bildschirmfoto 2020-10-08 um 22.38.22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84632" y="609600"/>
            <a:ext cx="6197601" cy="56388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37" name="Bildschirmfoto 2020-10-08 um 22.40.22.png" descr="Bildschirmfoto 2020-10-08 um 22.40.22.png"/>
          <p:cNvPicPr>
            <a:picLocks noChangeAspect="1"/>
          </p:cNvPicPr>
          <p:nvPr/>
        </p:nvPicPr>
        <p:blipFill>
          <a:blip r:embed="rId3"/>
          <a:srcRect t="6577" b="8666"/>
          <a:stretch>
            <a:fillRect/>
          </a:stretch>
        </p:blipFill>
        <p:spPr>
          <a:xfrm>
            <a:off x="8329382" y="5953"/>
            <a:ext cx="3879492" cy="6845904"/>
          </a:xfrm>
          <a:prstGeom prst="rect">
            <a:avLst/>
          </a:prstGeom>
          <a:ln w="12700">
            <a:miter lim="400000"/>
          </a:ln>
        </p:spPr>
      </p:pic>
      <p:pic>
        <p:nvPicPr>
          <p:cNvPr id="138" name="Bildschirmfoto 2020-10-08 um 22.56.04.png" descr="Bildschirmfoto 2020-10-08 um 22.56.04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333" y="1517650"/>
            <a:ext cx="3810001" cy="3822701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Office">
  <a:themeElements>
    <a:clrScheme name="Offic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36DE33932D0F24E842C157F715B2E5B" ma:contentTypeVersion="11" ma:contentTypeDescription="Ein neues Dokument erstellen." ma:contentTypeScope="" ma:versionID="0ea148e3290cae58b3d07c829d945fc7">
  <xsd:schema xmlns:xsd="http://www.w3.org/2001/XMLSchema" xmlns:xs="http://www.w3.org/2001/XMLSchema" xmlns:p="http://schemas.microsoft.com/office/2006/metadata/properties" xmlns:ns3="1d38b0a5-d74c-4591-80fb-34595252c191" xmlns:ns4="6675a1e4-0069-481f-b17b-d0695efb8776" targetNamespace="http://schemas.microsoft.com/office/2006/metadata/properties" ma:root="true" ma:fieldsID="d6e3cbd67c96037582d40ca955ae4e20" ns3:_="" ns4:_="">
    <xsd:import namespace="1d38b0a5-d74c-4591-80fb-34595252c191"/>
    <xsd:import namespace="6675a1e4-0069-481f-b17b-d0695efb877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Location" minOccurs="0"/>
                <xsd:element ref="ns3:MediaServiceOCR" minOccurs="0"/>
                <xsd:element ref="ns3:MediaServiceEventHashCode" minOccurs="0"/>
                <xsd:element ref="ns3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38b0a5-d74c-4591-80fb-34595252c1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75a1e4-0069-481f-b17b-d0695efb8776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Freigegeben für -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Freigabehinweishash" ma:description="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EE74C38-843A-48FA-BF0A-181E651591D1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61B2E154-4871-41CB-8D94-240291C5BBB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2D8CB35-6A4B-4783-9E90-2407BE9F9B0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d38b0a5-d74c-4591-80fb-34595252c191"/>
    <ds:schemaRef ds:uri="6675a1e4-0069-481f-b17b-d0695efb877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23</Words>
  <Application>Microsoft Office PowerPoint</Application>
  <PresentationFormat>Breitbild</PresentationFormat>
  <Paragraphs>107</Paragraphs>
  <Slides>19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6" baseType="lpstr">
      <vt:lpstr>72 Black</vt:lpstr>
      <vt:lpstr>Arial</vt:lpstr>
      <vt:lpstr>Calibri</vt:lpstr>
      <vt:lpstr>Courier</vt:lpstr>
      <vt:lpstr>Menlo Regular</vt:lpstr>
      <vt:lpstr>Office</vt:lpstr>
      <vt:lpstr>think-cell Folie</vt:lpstr>
      <vt:lpstr>Alert</vt:lpstr>
      <vt:lpstr>Task</vt:lpstr>
      <vt:lpstr>Strategy</vt:lpstr>
      <vt:lpstr>Workbench</vt:lpstr>
      <vt:lpstr>Workbench</vt:lpstr>
      <vt:lpstr>Workbench</vt:lpstr>
      <vt:lpstr>Workbench</vt:lpstr>
      <vt:lpstr>Workbench</vt:lpstr>
      <vt:lpstr>Finde den Fehler</vt:lpstr>
      <vt:lpstr>Finde in Stadtliste</vt:lpstr>
      <vt:lpstr>Führt zu sauberen Listen - only</vt:lpstr>
      <vt:lpstr>Eins - sortiert</vt:lpstr>
      <vt:lpstr>Prediction</vt:lpstr>
      <vt:lpstr>Progress</vt:lpstr>
      <vt:lpstr>Product</vt:lpstr>
      <vt:lpstr>Backup</vt:lpstr>
      <vt:lpstr>Useful graphs</vt:lpstr>
      <vt:lpstr>Used techniques</vt:lpstr>
      <vt:lpstr>Workbench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witter Disaster Detection</dc:title>
  <cp:lastModifiedBy>Eckert, Peter</cp:lastModifiedBy>
  <cp:revision>2</cp:revision>
  <dcterms:modified xsi:type="dcterms:W3CDTF">2020-10-09T07:33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36DE33932D0F24E842C157F715B2E5B</vt:lpwstr>
  </property>
</Properties>
</file>